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  <p:sldMasterId id="2147483674" r:id="rId6"/>
  </p:sldMasterIdLst>
  <p:notesMasterIdLst>
    <p:notesMasterId r:id="rId42"/>
  </p:notesMasterIdLst>
  <p:sldIdLst>
    <p:sldId id="1522" r:id="rId7"/>
    <p:sldId id="1125" r:id="rId8"/>
    <p:sldId id="1096" r:id="rId9"/>
    <p:sldId id="1243" r:id="rId10"/>
    <p:sldId id="1623" r:id="rId11"/>
    <p:sldId id="1622" r:id="rId12"/>
    <p:sldId id="1626" r:id="rId13"/>
    <p:sldId id="1592" r:id="rId14"/>
    <p:sldId id="1642" r:id="rId15"/>
    <p:sldId id="272" r:id="rId16"/>
    <p:sldId id="1644" r:id="rId17"/>
    <p:sldId id="1584" r:id="rId18"/>
    <p:sldId id="1585" r:id="rId19"/>
    <p:sldId id="1586" r:id="rId20"/>
    <p:sldId id="1587" r:id="rId21"/>
    <p:sldId id="1115" r:id="rId22"/>
    <p:sldId id="1358" r:id="rId23"/>
    <p:sldId id="1360" r:id="rId24"/>
    <p:sldId id="1359" r:id="rId25"/>
    <p:sldId id="1629" r:id="rId26"/>
    <p:sldId id="1630" r:id="rId27"/>
    <p:sldId id="1638" r:id="rId28"/>
    <p:sldId id="1637" r:id="rId29"/>
    <p:sldId id="1633" r:id="rId30"/>
    <p:sldId id="1639" r:id="rId31"/>
    <p:sldId id="1624" r:id="rId32"/>
    <p:sldId id="1625" r:id="rId33"/>
    <p:sldId id="1596" r:id="rId34"/>
    <p:sldId id="1627" r:id="rId35"/>
    <p:sldId id="1127" r:id="rId36"/>
    <p:sldId id="1605" r:id="rId37"/>
    <p:sldId id="1640" r:id="rId38"/>
    <p:sldId id="1636" r:id="rId39"/>
    <p:sldId id="1116" r:id="rId40"/>
    <p:sldId id="1590" r:id="rId41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D1E5C"/>
    <a:srgbClr val="003E74"/>
    <a:srgbClr val="DF6EA3"/>
    <a:srgbClr val="38A1F9"/>
    <a:srgbClr val="002446"/>
    <a:srgbClr val="5E1236"/>
    <a:srgbClr val="6EAB46"/>
    <a:srgbClr val="5A99D3"/>
    <a:srgbClr val="5B9BD5"/>
    <a:srgbClr val="39A4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678EB33-04B3-4564-AE75-E70DEF8D9C9B}" v="2722" dt="2021-05-10T11:31:09.786"/>
    <p1510:client id="{BD0B9AD2-5599-4270-A991-9043944EDFD1}" v="2645" dt="2021-05-10T09:15:18.830"/>
    <p1510:client id="{C9D903A4-46E6-4893-AFC2-D270D0EA1800}" v="1410" dt="2021-05-10T14:54:59.57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734" autoAdjust="0"/>
    <p:restoredTop sz="94660"/>
  </p:normalViewPr>
  <p:slideViewPr>
    <p:cSldViewPr snapToGrid="0">
      <p:cViewPr varScale="1">
        <p:scale>
          <a:sx n="81" d="100"/>
          <a:sy n="81" d="100"/>
        </p:scale>
        <p:origin x="763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notesMaster" Target="notesMasters/notesMaster1.xml"/><Relationship Id="rId47" Type="http://schemas.microsoft.com/office/2016/11/relationships/changesInfo" Target="changesInfos/changesInfo1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presProps" Target="presProps.xml"/><Relationship Id="rId48" Type="http://schemas.microsoft.com/office/2015/10/relationships/revisionInfo" Target="revisionInfo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tableStyles" Target="tableStyles.xml"/><Relationship Id="rId20" Type="http://schemas.openxmlformats.org/officeDocument/2006/relationships/slide" Target="slides/slide14.xml"/><Relationship Id="rId41" Type="http://schemas.openxmlformats.org/officeDocument/2006/relationships/slide" Target="slides/slide3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roline Leboutte" userId="f4ee736a-a855-4c17-ac95-dab860928bce" providerId="ADAL" clId="{BD0B9AD2-5599-4270-A991-9043944EDFD1}"/>
    <pc:docChg chg="undo custSel addSld modSld sldOrd">
      <pc:chgData name="Caroline Leboutte" userId="f4ee736a-a855-4c17-ac95-dab860928bce" providerId="ADAL" clId="{BD0B9AD2-5599-4270-A991-9043944EDFD1}" dt="2021-05-10T09:15:18.830" v="3355" actId="20577"/>
      <pc:docMkLst>
        <pc:docMk/>
      </pc:docMkLst>
      <pc:sldChg chg="modSp add mod ord">
        <pc:chgData name="Caroline Leboutte" userId="f4ee736a-a855-4c17-ac95-dab860928bce" providerId="ADAL" clId="{BD0B9AD2-5599-4270-A991-9043944EDFD1}" dt="2021-05-10T06:13:46.684" v="35" actId="6549"/>
        <pc:sldMkLst>
          <pc:docMk/>
          <pc:sldMk cId="553443516" sldId="1629"/>
        </pc:sldMkLst>
        <pc:spChg chg="mod">
          <ac:chgData name="Caroline Leboutte" userId="f4ee736a-a855-4c17-ac95-dab860928bce" providerId="ADAL" clId="{BD0B9AD2-5599-4270-A991-9043944EDFD1}" dt="2021-05-10T06:13:46.684" v="35" actId="6549"/>
          <ac:spMkLst>
            <pc:docMk/>
            <pc:sldMk cId="553443516" sldId="1629"/>
            <ac:spMk id="8" creationId="{104CB144-5DD3-43CE-B8A0-9676BBED4B39}"/>
          </ac:spMkLst>
        </pc:spChg>
      </pc:sldChg>
      <pc:sldChg chg="addSp delSp modSp add mod chgLayout">
        <pc:chgData name="Caroline Leboutte" userId="f4ee736a-a855-4c17-ac95-dab860928bce" providerId="ADAL" clId="{BD0B9AD2-5599-4270-A991-9043944EDFD1}" dt="2021-05-10T08:59:54.213" v="3233" actId="20577"/>
        <pc:sldMkLst>
          <pc:docMk/>
          <pc:sldMk cId="3386173775" sldId="1630"/>
        </pc:sldMkLst>
        <pc:spChg chg="add mod ord">
          <ac:chgData name="Caroline Leboutte" userId="f4ee736a-a855-4c17-ac95-dab860928bce" providerId="ADAL" clId="{BD0B9AD2-5599-4270-A991-9043944EDFD1}" dt="2021-05-10T06:53:25.479" v="123" actId="1076"/>
          <ac:spMkLst>
            <pc:docMk/>
            <pc:sldMk cId="3386173775" sldId="1630"/>
            <ac:spMk id="2" creationId="{156CF523-1781-40DD-8DBD-0791B3D438DA}"/>
          </ac:spMkLst>
        </pc:spChg>
        <pc:spChg chg="add mod ord">
          <ac:chgData name="Caroline Leboutte" userId="f4ee736a-a855-4c17-ac95-dab860928bce" providerId="ADAL" clId="{BD0B9AD2-5599-4270-A991-9043944EDFD1}" dt="2021-05-10T08:59:54.213" v="3233" actId="20577"/>
          <ac:spMkLst>
            <pc:docMk/>
            <pc:sldMk cId="3386173775" sldId="1630"/>
            <ac:spMk id="3" creationId="{08EC9F62-09EB-4BD4-A706-509F1A744AF3}"/>
          </ac:spMkLst>
        </pc:spChg>
        <pc:spChg chg="mod">
          <ac:chgData name="Caroline Leboutte" userId="f4ee736a-a855-4c17-ac95-dab860928bce" providerId="ADAL" clId="{BD0B9AD2-5599-4270-A991-9043944EDFD1}" dt="2021-05-10T06:53:07.019" v="115" actId="21"/>
          <ac:spMkLst>
            <pc:docMk/>
            <pc:sldMk cId="3386173775" sldId="1630"/>
            <ac:spMk id="5" creationId="{DFC36386-C89D-457F-BA1A-34B052F3F55D}"/>
          </ac:spMkLst>
        </pc:spChg>
        <pc:spChg chg="del mod">
          <ac:chgData name="Caroline Leboutte" userId="f4ee736a-a855-4c17-ac95-dab860928bce" providerId="ADAL" clId="{BD0B9AD2-5599-4270-A991-9043944EDFD1}" dt="2021-05-10T06:48:31.322" v="42"/>
          <ac:spMkLst>
            <pc:docMk/>
            <pc:sldMk cId="3386173775" sldId="1630"/>
            <ac:spMk id="15" creationId="{CBCB4A64-7D74-4A66-A44F-1E280B2BE44A}"/>
          </ac:spMkLst>
        </pc:spChg>
        <pc:spChg chg="mod ord">
          <ac:chgData name="Caroline Leboutte" userId="f4ee736a-a855-4c17-ac95-dab860928bce" providerId="ADAL" clId="{BD0B9AD2-5599-4270-A991-9043944EDFD1}" dt="2021-05-10T06:52:34.241" v="112" actId="700"/>
          <ac:spMkLst>
            <pc:docMk/>
            <pc:sldMk cId="3386173775" sldId="1630"/>
            <ac:spMk id="17" creationId="{6472D98B-CD5F-464C-8F66-41D4B16210FA}"/>
          </ac:spMkLst>
        </pc:spChg>
        <pc:spChg chg="del">
          <ac:chgData name="Caroline Leboutte" userId="f4ee736a-a855-4c17-ac95-dab860928bce" providerId="ADAL" clId="{BD0B9AD2-5599-4270-A991-9043944EDFD1}" dt="2021-05-10T06:48:35.118" v="43" actId="478"/>
          <ac:spMkLst>
            <pc:docMk/>
            <pc:sldMk cId="3386173775" sldId="1630"/>
            <ac:spMk id="69" creationId="{B209F01D-C37D-4F65-9640-E5C931FAB332}"/>
          </ac:spMkLst>
        </pc:spChg>
        <pc:graphicFrameChg chg="del mod">
          <ac:chgData name="Caroline Leboutte" userId="f4ee736a-a855-4c17-ac95-dab860928bce" providerId="ADAL" clId="{BD0B9AD2-5599-4270-A991-9043944EDFD1}" dt="2021-05-10T06:48:31.307" v="40" actId="478"/>
          <ac:graphicFrameMkLst>
            <pc:docMk/>
            <pc:sldMk cId="3386173775" sldId="1630"/>
            <ac:graphicFrameMk id="68" creationId="{FF2BB78B-91CB-41A7-BBE6-C877E7A31F61}"/>
          </ac:graphicFrameMkLst>
        </pc:graphicFrameChg>
        <pc:picChg chg="mod">
          <ac:chgData name="Caroline Leboutte" userId="f4ee736a-a855-4c17-ac95-dab860928bce" providerId="ADAL" clId="{BD0B9AD2-5599-4270-A991-9043944EDFD1}" dt="2021-05-10T06:53:28.984" v="124" actId="1076"/>
          <ac:picMkLst>
            <pc:docMk/>
            <pc:sldMk cId="3386173775" sldId="1630"/>
            <ac:picMk id="65" creationId="{E6383847-4BFA-4DBA-AAFC-C339B6ECA128}"/>
          </ac:picMkLst>
        </pc:picChg>
      </pc:sldChg>
      <pc:sldChg chg="modSp add mod">
        <pc:chgData name="Caroline Leboutte" userId="f4ee736a-a855-4c17-ac95-dab860928bce" providerId="ADAL" clId="{BD0B9AD2-5599-4270-A991-9043944EDFD1}" dt="2021-05-10T09:15:18.830" v="3355" actId="20577"/>
        <pc:sldMkLst>
          <pc:docMk/>
          <pc:sldMk cId="378864934" sldId="1631"/>
        </pc:sldMkLst>
        <pc:spChg chg="mod">
          <ac:chgData name="Caroline Leboutte" userId="f4ee736a-a855-4c17-ac95-dab860928bce" providerId="ADAL" clId="{BD0B9AD2-5599-4270-A991-9043944EDFD1}" dt="2021-05-10T06:57:32.489" v="316" actId="20577"/>
          <ac:spMkLst>
            <pc:docMk/>
            <pc:sldMk cId="378864934" sldId="1631"/>
            <ac:spMk id="2" creationId="{156CF523-1781-40DD-8DBD-0791B3D438DA}"/>
          </ac:spMkLst>
        </pc:spChg>
        <pc:spChg chg="mod">
          <ac:chgData name="Caroline Leboutte" userId="f4ee736a-a855-4c17-ac95-dab860928bce" providerId="ADAL" clId="{BD0B9AD2-5599-4270-A991-9043944EDFD1}" dt="2021-05-10T09:15:18.830" v="3355" actId="20577"/>
          <ac:spMkLst>
            <pc:docMk/>
            <pc:sldMk cId="378864934" sldId="1631"/>
            <ac:spMk id="3" creationId="{08EC9F62-09EB-4BD4-A706-509F1A744AF3}"/>
          </ac:spMkLst>
        </pc:spChg>
      </pc:sldChg>
      <pc:sldChg chg="modSp add mod">
        <pc:chgData name="Caroline Leboutte" userId="f4ee736a-a855-4c17-ac95-dab860928bce" providerId="ADAL" clId="{BD0B9AD2-5599-4270-A991-9043944EDFD1}" dt="2021-05-10T08:54:29.990" v="3034" actId="14100"/>
        <pc:sldMkLst>
          <pc:docMk/>
          <pc:sldMk cId="794038774" sldId="1632"/>
        </pc:sldMkLst>
        <pc:spChg chg="mod">
          <ac:chgData name="Caroline Leboutte" userId="f4ee736a-a855-4c17-ac95-dab860928bce" providerId="ADAL" clId="{BD0B9AD2-5599-4270-A991-9043944EDFD1}" dt="2021-05-10T08:54:29.990" v="3034" actId="14100"/>
          <ac:spMkLst>
            <pc:docMk/>
            <pc:sldMk cId="794038774" sldId="1632"/>
            <ac:spMk id="3" creationId="{08EC9F62-09EB-4BD4-A706-509F1A744AF3}"/>
          </ac:spMkLst>
        </pc:spChg>
      </pc:sldChg>
      <pc:sldChg chg="modSp add mod">
        <pc:chgData name="Caroline Leboutte" userId="f4ee736a-a855-4c17-ac95-dab860928bce" providerId="ADAL" clId="{BD0B9AD2-5599-4270-A991-9043944EDFD1}" dt="2021-05-10T09:03:49.053" v="3354" actId="20577"/>
        <pc:sldMkLst>
          <pc:docMk/>
          <pc:sldMk cId="3736194387" sldId="1633"/>
        </pc:sldMkLst>
        <pc:spChg chg="mod">
          <ac:chgData name="Caroline Leboutte" userId="f4ee736a-a855-4c17-ac95-dab860928bce" providerId="ADAL" clId="{BD0B9AD2-5599-4270-A991-9043944EDFD1}" dt="2021-05-10T09:03:49.053" v="3354" actId="20577"/>
          <ac:spMkLst>
            <pc:docMk/>
            <pc:sldMk cId="3736194387" sldId="1633"/>
            <ac:spMk id="3" creationId="{08EC9F62-09EB-4BD4-A706-509F1A744AF3}"/>
          </ac:spMkLst>
        </pc:spChg>
      </pc:sldChg>
      <pc:sldChg chg="modSp add mod">
        <pc:chgData name="Caroline Leboutte" userId="f4ee736a-a855-4c17-ac95-dab860928bce" providerId="ADAL" clId="{BD0B9AD2-5599-4270-A991-9043944EDFD1}" dt="2021-05-10T08:56:46.793" v="3094" actId="20577"/>
        <pc:sldMkLst>
          <pc:docMk/>
          <pc:sldMk cId="974490593" sldId="1634"/>
        </pc:sldMkLst>
        <pc:spChg chg="mod">
          <ac:chgData name="Caroline Leboutte" userId="f4ee736a-a855-4c17-ac95-dab860928bce" providerId="ADAL" clId="{BD0B9AD2-5599-4270-A991-9043944EDFD1}" dt="2021-05-10T08:56:46.793" v="3094" actId="20577"/>
          <ac:spMkLst>
            <pc:docMk/>
            <pc:sldMk cId="974490593" sldId="1634"/>
            <ac:spMk id="3" creationId="{08EC9F62-09EB-4BD4-A706-509F1A744AF3}"/>
          </ac:spMkLst>
        </pc:spChg>
      </pc:sldChg>
      <pc:sldChg chg="modSp add mod">
        <pc:chgData name="Caroline Leboutte" userId="f4ee736a-a855-4c17-ac95-dab860928bce" providerId="ADAL" clId="{BD0B9AD2-5599-4270-A991-9043944EDFD1}" dt="2021-05-10T08:55:28.836" v="3076" actId="20577"/>
        <pc:sldMkLst>
          <pc:docMk/>
          <pc:sldMk cId="709728827" sldId="1637"/>
        </pc:sldMkLst>
        <pc:spChg chg="mod">
          <ac:chgData name="Caroline Leboutte" userId="f4ee736a-a855-4c17-ac95-dab860928bce" providerId="ADAL" clId="{BD0B9AD2-5599-4270-A991-9043944EDFD1}" dt="2021-05-10T08:55:28.836" v="3076" actId="20577"/>
          <ac:spMkLst>
            <pc:docMk/>
            <pc:sldMk cId="709728827" sldId="1637"/>
            <ac:spMk id="3" creationId="{08EC9F62-09EB-4BD4-A706-509F1A744AF3}"/>
          </ac:spMkLst>
        </pc:spChg>
      </pc:sldChg>
      <pc:sldChg chg="modSp add mod">
        <pc:chgData name="Caroline Leboutte" userId="f4ee736a-a855-4c17-ac95-dab860928bce" providerId="ADAL" clId="{BD0B9AD2-5599-4270-A991-9043944EDFD1}" dt="2021-05-10T09:02:43.433" v="3347" actId="20577"/>
        <pc:sldMkLst>
          <pc:docMk/>
          <pc:sldMk cId="4215045609" sldId="1638"/>
        </pc:sldMkLst>
        <pc:spChg chg="mod">
          <ac:chgData name="Caroline Leboutte" userId="f4ee736a-a855-4c17-ac95-dab860928bce" providerId="ADAL" clId="{BD0B9AD2-5599-4270-A991-9043944EDFD1}" dt="2021-05-10T09:02:43.433" v="3347" actId="20577"/>
          <ac:spMkLst>
            <pc:docMk/>
            <pc:sldMk cId="4215045609" sldId="1638"/>
            <ac:spMk id="3" creationId="{08EC9F62-09EB-4BD4-A706-509F1A744AF3}"/>
          </ac:spMkLst>
        </pc:spChg>
      </pc:sldChg>
    </pc:docChg>
  </pc:docChgLst>
  <pc:docChgLst>
    <pc:chgData name="Mohamed Amer" userId="a21ca6d3-dade-4ab5-a283-3fead0ee51ee" providerId="ADAL" clId="{6678EB33-04B3-4564-AE75-E70DEF8D9C9B}"/>
    <pc:docChg chg="undo redo custSel addSld modSld">
      <pc:chgData name="Mohamed Amer" userId="a21ca6d3-dade-4ab5-a283-3fead0ee51ee" providerId="ADAL" clId="{6678EB33-04B3-4564-AE75-E70DEF8D9C9B}" dt="2021-05-10T11:31:09.786" v="3638" actId="20577"/>
      <pc:docMkLst>
        <pc:docMk/>
      </pc:docMkLst>
      <pc:sldChg chg="modSp add mod">
        <pc:chgData name="Mohamed Amer" userId="a21ca6d3-dade-4ab5-a283-3fead0ee51ee" providerId="ADAL" clId="{6678EB33-04B3-4564-AE75-E70DEF8D9C9B}" dt="2021-05-10T11:28:47.257" v="3620" actId="120"/>
        <pc:sldMkLst>
          <pc:docMk/>
          <pc:sldMk cId="1405841023" sldId="272"/>
        </pc:sldMkLst>
        <pc:spChg chg="mod">
          <ac:chgData name="Mohamed Amer" userId="a21ca6d3-dade-4ab5-a283-3fead0ee51ee" providerId="ADAL" clId="{6678EB33-04B3-4564-AE75-E70DEF8D9C9B}" dt="2021-05-10T11:26:22.206" v="3616" actId="1036"/>
          <ac:spMkLst>
            <pc:docMk/>
            <pc:sldMk cId="1405841023" sldId="272"/>
            <ac:spMk id="4" creationId="{945E4E11-08AB-4177-ADAE-32E57E6BB4B5}"/>
          </ac:spMkLst>
        </pc:spChg>
        <pc:spChg chg="mod">
          <ac:chgData name="Mohamed Amer" userId="a21ca6d3-dade-4ab5-a283-3fead0ee51ee" providerId="ADAL" clId="{6678EB33-04B3-4564-AE75-E70DEF8D9C9B}" dt="2021-05-10T11:28:47.257" v="3620" actId="120"/>
          <ac:spMkLst>
            <pc:docMk/>
            <pc:sldMk cId="1405841023" sldId="272"/>
            <ac:spMk id="5" creationId="{F28BEFC4-2618-4EBB-BE54-39403AE58486}"/>
          </ac:spMkLst>
        </pc:spChg>
        <pc:spChg chg="mod">
          <ac:chgData name="Mohamed Amer" userId="a21ca6d3-dade-4ab5-a283-3fead0ee51ee" providerId="ADAL" clId="{6678EB33-04B3-4564-AE75-E70DEF8D9C9B}" dt="2021-05-10T11:26:11.103" v="3613" actId="20577"/>
          <ac:spMkLst>
            <pc:docMk/>
            <pc:sldMk cId="1405841023" sldId="272"/>
            <ac:spMk id="6" creationId="{15CBCEA3-921B-4A96-AAB7-55817A9C2E7B}"/>
          </ac:spMkLst>
        </pc:spChg>
        <pc:spChg chg="mod">
          <ac:chgData name="Mohamed Amer" userId="a21ca6d3-dade-4ab5-a283-3fead0ee51ee" providerId="ADAL" clId="{6678EB33-04B3-4564-AE75-E70DEF8D9C9B}" dt="2021-05-10T11:25:19.294" v="3572" actId="20577"/>
          <ac:spMkLst>
            <pc:docMk/>
            <pc:sldMk cId="1405841023" sldId="272"/>
            <ac:spMk id="23" creationId="{49C4ED4B-BD0A-4BAD-A87E-DE7E698101DF}"/>
          </ac:spMkLst>
        </pc:spChg>
        <pc:cxnChg chg="mod">
          <ac:chgData name="Mohamed Amer" userId="a21ca6d3-dade-4ab5-a283-3fead0ee51ee" providerId="ADAL" clId="{6678EB33-04B3-4564-AE75-E70DEF8D9C9B}" dt="2021-05-10T11:26:22.206" v="3616" actId="1036"/>
          <ac:cxnSpMkLst>
            <pc:docMk/>
            <pc:sldMk cId="1405841023" sldId="272"/>
            <ac:cxnSpMk id="7" creationId="{001ADC84-8484-4DFC-A589-9BF3C58B5C07}"/>
          </ac:cxnSpMkLst>
        </pc:cxnChg>
      </pc:sldChg>
      <pc:sldChg chg="modSp mod">
        <pc:chgData name="Mohamed Amer" userId="a21ca6d3-dade-4ab5-a283-3fead0ee51ee" providerId="ADAL" clId="{6678EB33-04B3-4564-AE75-E70DEF8D9C9B}" dt="2021-05-07T13:49:33.700" v="563" actId="313"/>
        <pc:sldMkLst>
          <pc:docMk/>
          <pc:sldMk cId="3020509222" sldId="644"/>
        </pc:sldMkLst>
        <pc:spChg chg="mod">
          <ac:chgData name="Mohamed Amer" userId="a21ca6d3-dade-4ab5-a283-3fead0ee51ee" providerId="ADAL" clId="{6678EB33-04B3-4564-AE75-E70DEF8D9C9B}" dt="2021-05-07T13:45:43.705" v="527" actId="207"/>
          <ac:spMkLst>
            <pc:docMk/>
            <pc:sldMk cId="3020509222" sldId="644"/>
            <ac:spMk id="6" creationId="{00000000-0000-0000-0000-000000000000}"/>
          </ac:spMkLst>
        </pc:spChg>
        <pc:spChg chg="mod">
          <ac:chgData name="Mohamed Amer" userId="a21ca6d3-dade-4ab5-a283-3fead0ee51ee" providerId="ADAL" clId="{6678EB33-04B3-4564-AE75-E70DEF8D9C9B}" dt="2021-05-07T13:45:50.288" v="529" actId="313"/>
          <ac:spMkLst>
            <pc:docMk/>
            <pc:sldMk cId="3020509222" sldId="644"/>
            <ac:spMk id="8" creationId="{00000000-0000-0000-0000-000000000000}"/>
          </ac:spMkLst>
        </pc:spChg>
        <pc:spChg chg="mod">
          <ac:chgData name="Mohamed Amer" userId="a21ca6d3-dade-4ab5-a283-3fead0ee51ee" providerId="ADAL" clId="{6678EB33-04B3-4564-AE75-E70DEF8D9C9B}" dt="2021-05-07T13:45:14.484" v="520" actId="20577"/>
          <ac:spMkLst>
            <pc:docMk/>
            <pc:sldMk cId="3020509222" sldId="644"/>
            <ac:spMk id="24" creationId="{00000000-0000-0000-0000-000000000000}"/>
          </ac:spMkLst>
        </pc:spChg>
        <pc:spChg chg="mod">
          <ac:chgData name="Mohamed Amer" userId="a21ca6d3-dade-4ab5-a283-3fead0ee51ee" providerId="ADAL" clId="{6678EB33-04B3-4564-AE75-E70DEF8D9C9B}" dt="2021-05-07T13:49:23.535" v="561" actId="20577"/>
          <ac:spMkLst>
            <pc:docMk/>
            <pc:sldMk cId="3020509222" sldId="644"/>
            <ac:spMk id="31" creationId="{00000000-0000-0000-0000-000000000000}"/>
          </ac:spMkLst>
        </pc:spChg>
        <pc:spChg chg="mod">
          <ac:chgData name="Mohamed Amer" userId="a21ca6d3-dade-4ab5-a283-3fead0ee51ee" providerId="ADAL" clId="{6678EB33-04B3-4564-AE75-E70DEF8D9C9B}" dt="2021-05-07T13:49:29.425" v="562" actId="313"/>
          <ac:spMkLst>
            <pc:docMk/>
            <pc:sldMk cId="3020509222" sldId="644"/>
            <ac:spMk id="38" creationId="{00000000-0000-0000-0000-000000000000}"/>
          </ac:spMkLst>
        </pc:spChg>
        <pc:spChg chg="mod">
          <ac:chgData name="Mohamed Amer" userId="a21ca6d3-dade-4ab5-a283-3fead0ee51ee" providerId="ADAL" clId="{6678EB33-04B3-4564-AE75-E70DEF8D9C9B}" dt="2021-05-07T13:46:19.063" v="537" actId="20577"/>
          <ac:spMkLst>
            <pc:docMk/>
            <pc:sldMk cId="3020509222" sldId="644"/>
            <ac:spMk id="58" creationId="{4310A698-84EA-40FF-AE00-06B9516A6E93}"/>
          </ac:spMkLst>
        </pc:spChg>
        <pc:spChg chg="mod">
          <ac:chgData name="Mohamed Amer" userId="a21ca6d3-dade-4ab5-a283-3fead0ee51ee" providerId="ADAL" clId="{6678EB33-04B3-4564-AE75-E70DEF8D9C9B}" dt="2021-05-07T13:49:33.700" v="563" actId="313"/>
          <ac:spMkLst>
            <pc:docMk/>
            <pc:sldMk cId="3020509222" sldId="644"/>
            <ac:spMk id="75" creationId="{083F4E83-F337-46F6-923F-F1F3BF2C8504}"/>
          </ac:spMkLst>
        </pc:spChg>
        <pc:spChg chg="mod">
          <ac:chgData name="Mohamed Amer" userId="a21ca6d3-dade-4ab5-a283-3fead0ee51ee" providerId="ADAL" clId="{6678EB33-04B3-4564-AE75-E70DEF8D9C9B}" dt="2021-05-07T13:44:36.461" v="516" actId="20577"/>
          <ac:spMkLst>
            <pc:docMk/>
            <pc:sldMk cId="3020509222" sldId="644"/>
            <ac:spMk id="87" creationId="{B6B7BDBA-CFA5-4E0B-B203-E9BF03261E9A}"/>
          </ac:spMkLst>
        </pc:spChg>
        <pc:spChg chg="mod">
          <ac:chgData name="Mohamed Amer" userId="a21ca6d3-dade-4ab5-a283-3fead0ee51ee" providerId="ADAL" clId="{6678EB33-04B3-4564-AE75-E70DEF8D9C9B}" dt="2021-05-07T13:44:40.751" v="517" actId="1076"/>
          <ac:spMkLst>
            <pc:docMk/>
            <pc:sldMk cId="3020509222" sldId="644"/>
            <ac:spMk id="88" creationId="{F78B450E-6715-44AC-8415-CC251E9E438A}"/>
          </ac:spMkLst>
        </pc:spChg>
      </pc:sldChg>
      <pc:sldChg chg="modSp mod">
        <pc:chgData name="Mohamed Amer" userId="a21ca6d3-dade-4ab5-a283-3fead0ee51ee" providerId="ADAL" clId="{6678EB33-04B3-4564-AE75-E70DEF8D9C9B}" dt="2021-05-07T13:47:29.951" v="544" actId="404"/>
        <pc:sldMkLst>
          <pc:docMk/>
          <pc:sldMk cId="880977745" sldId="1096"/>
        </pc:sldMkLst>
        <pc:spChg chg="mod">
          <ac:chgData name="Mohamed Amer" userId="a21ca6d3-dade-4ab5-a283-3fead0ee51ee" providerId="ADAL" clId="{6678EB33-04B3-4564-AE75-E70DEF8D9C9B}" dt="2021-05-07T13:47:29.951" v="544" actId="404"/>
          <ac:spMkLst>
            <pc:docMk/>
            <pc:sldMk cId="880977745" sldId="1096"/>
            <ac:spMk id="15" creationId="{CBCB4A64-7D74-4A66-A44F-1E280B2BE44A}"/>
          </ac:spMkLst>
        </pc:spChg>
      </pc:sldChg>
      <pc:sldChg chg="modSp mod">
        <pc:chgData name="Mohamed Amer" userId="a21ca6d3-dade-4ab5-a283-3fead0ee51ee" providerId="ADAL" clId="{6678EB33-04B3-4564-AE75-E70DEF8D9C9B}" dt="2021-05-10T07:32:22.913" v="967" actId="20577"/>
        <pc:sldMkLst>
          <pc:docMk/>
          <pc:sldMk cId="4011173525" sldId="1125"/>
        </pc:sldMkLst>
        <pc:spChg chg="mod">
          <ac:chgData name="Mohamed Amer" userId="a21ca6d3-dade-4ab5-a283-3fead0ee51ee" providerId="ADAL" clId="{6678EB33-04B3-4564-AE75-E70DEF8D9C9B}" dt="2021-05-10T07:32:22.913" v="967" actId="20577"/>
          <ac:spMkLst>
            <pc:docMk/>
            <pc:sldMk cId="4011173525" sldId="1125"/>
            <ac:spMk id="11" creationId="{B6705EE5-A40F-4328-B581-38E6AB285B51}"/>
          </ac:spMkLst>
        </pc:spChg>
        <pc:spChg chg="mod">
          <ac:chgData name="Mohamed Amer" userId="a21ca6d3-dade-4ab5-a283-3fead0ee51ee" providerId="ADAL" clId="{6678EB33-04B3-4564-AE75-E70DEF8D9C9B}" dt="2021-05-07T13:23:07.502" v="18" actId="20577"/>
          <ac:spMkLst>
            <pc:docMk/>
            <pc:sldMk cId="4011173525" sldId="1125"/>
            <ac:spMk id="14" creationId="{2827DDF1-DCD3-4D31-B2B4-F65DA01245D8}"/>
          </ac:spMkLst>
        </pc:spChg>
      </pc:sldChg>
      <pc:sldChg chg="modSp mod">
        <pc:chgData name="Mohamed Amer" userId="a21ca6d3-dade-4ab5-a283-3fead0ee51ee" providerId="ADAL" clId="{6678EB33-04B3-4564-AE75-E70DEF8D9C9B}" dt="2021-05-10T07:53:59.019" v="1057" actId="13926"/>
        <pc:sldMkLst>
          <pc:docMk/>
          <pc:sldMk cId="4213923831" sldId="1127"/>
        </pc:sldMkLst>
        <pc:spChg chg="mod">
          <ac:chgData name="Mohamed Amer" userId="a21ca6d3-dade-4ab5-a283-3fead0ee51ee" providerId="ADAL" clId="{6678EB33-04B3-4564-AE75-E70DEF8D9C9B}" dt="2021-05-10T07:14:16.539" v="916" actId="790"/>
          <ac:spMkLst>
            <pc:docMk/>
            <pc:sldMk cId="4213923831" sldId="1127"/>
            <ac:spMk id="5" creationId="{DFC36386-C89D-457F-BA1A-34B052F3F55D}"/>
          </ac:spMkLst>
        </pc:spChg>
        <pc:spChg chg="mod">
          <ac:chgData name="Mohamed Amer" userId="a21ca6d3-dade-4ab5-a283-3fead0ee51ee" providerId="ADAL" clId="{6678EB33-04B3-4564-AE75-E70DEF8D9C9B}" dt="2021-05-10T07:14:16.539" v="916" actId="790"/>
          <ac:spMkLst>
            <pc:docMk/>
            <pc:sldMk cId="4213923831" sldId="1127"/>
            <ac:spMk id="41" creationId="{612D4A72-B865-40D6-A6B3-838FD59C3C0C}"/>
          </ac:spMkLst>
        </pc:spChg>
        <pc:spChg chg="mod">
          <ac:chgData name="Mohamed Amer" userId="a21ca6d3-dade-4ab5-a283-3fead0ee51ee" providerId="ADAL" clId="{6678EB33-04B3-4564-AE75-E70DEF8D9C9B}" dt="2021-05-10T07:14:16.539" v="916" actId="790"/>
          <ac:spMkLst>
            <pc:docMk/>
            <pc:sldMk cId="4213923831" sldId="1127"/>
            <ac:spMk id="46" creationId="{9EA62F21-69D9-4BF4-B8A5-B963DC759D72}"/>
          </ac:spMkLst>
        </pc:spChg>
        <pc:spChg chg="mod">
          <ac:chgData name="Mohamed Amer" userId="a21ca6d3-dade-4ab5-a283-3fead0ee51ee" providerId="ADAL" clId="{6678EB33-04B3-4564-AE75-E70DEF8D9C9B}" dt="2021-05-10T07:14:16.539" v="916" actId="790"/>
          <ac:spMkLst>
            <pc:docMk/>
            <pc:sldMk cId="4213923831" sldId="1127"/>
            <ac:spMk id="47" creationId="{D703742F-58F4-4602-B530-98DD3733BA74}"/>
          </ac:spMkLst>
        </pc:spChg>
        <pc:spChg chg="mod">
          <ac:chgData name="Mohamed Amer" userId="a21ca6d3-dade-4ab5-a283-3fead0ee51ee" providerId="ADAL" clId="{6678EB33-04B3-4564-AE75-E70DEF8D9C9B}" dt="2021-05-10T07:14:16.539" v="916" actId="790"/>
          <ac:spMkLst>
            <pc:docMk/>
            <pc:sldMk cId="4213923831" sldId="1127"/>
            <ac:spMk id="51" creationId="{B2312BBA-2972-4E27-A399-C2FBF2C402BE}"/>
          </ac:spMkLst>
        </pc:spChg>
        <pc:spChg chg="mod">
          <ac:chgData name="Mohamed Amer" userId="a21ca6d3-dade-4ab5-a283-3fead0ee51ee" providerId="ADAL" clId="{6678EB33-04B3-4564-AE75-E70DEF8D9C9B}" dt="2021-05-10T07:14:16.539" v="916" actId="790"/>
          <ac:spMkLst>
            <pc:docMk/>
            <pc:sldMk cId="4213923831" sldId="1127"/>
            <ac:spMk id="52" creationId="{77A17124-FD98-4010-B265-E84DEC057DED}"/>
          </ac:spMkLst>
        </pc:spChg>
        <pc:spChg chg="mod">
          <ac:chgData name="Mohamed Amer" userId="a21ca6d3-dade-4ab5-a283-3fead0ee51ee" providerId="ADAL" clId="{6678EB33-04B3-4564-AE75-E70DEF8D9C9B}" dt="2021-05-10T07:14:16.539" v="916" actId="790"/>
          <ac:spMkLst>
            <pc:docMk/>
            <pc:sldMk cId="4213923831" sldId="1127"/>
            <ac:spMk id="54" creationId="{FA575D11-AB15-4023-B3C1-96BD8DB76271}"/>
          </ac:spMkLst>
        </pc:spChg>
        <pc:spChg chg="mod">
          <ac:chgData name="Mohamed Amer" userId="a21ca6d3-dade-4ab5-a283-3fead0ee51ee" providerId="ADAL" clId="{6678EB33-04B3-4564-AE75-E70DEF8D9C9B}" dt="2021-05-10T07:14:16.539" v="916" actId="790"/>
          <ac:spMkLst>
            <pc:docMk/>
            <pc:sldMk cId="4213923831" sldId="1127"/>
            <ac:spMk id="55" creationId="{C394E317-31C5-4491-A156-5BDDB37DDF07}"/>
          </ac:spMkLst>
        </pc:spChg>
        <pc:spChg chg="mod">
          <ac:chgData name="Mohamed Amer" userId="a21ca6d3-dade-4ab5-a283-3fead0ee51ee" providerId="ADAL" clId="{6678EB33-04B3-4564-AE75-E70DEF8D9C9B}" dt="2021-05-10T07:14:16.539" v="916" actId="790"/>
          <ac:spMkLst>
            <pc:docMk/>
            <pc:sldMk cId="4213923831" sldId="1127"/>
            <ac:spMk id="56" creationId="{22B6E6CF-6409-4923-A1F0-53494C49B2E1}"/>
          </ac:spMkLst>
        </pc:spChg>
        <pc:spChg chg="mod">
          <ac:chgData name="Mohamed Amer" userId="a21ca6d3-dade-4ab5-a283-3fead0ee51ee" providerId="ADAL" clId="{6678EB33-04B3-4564-AE75-E70DEF8D9C9B}" dt="2021-05-10T07:14:16.539" v="916" actId="790"/>
          <ac:spMkLst>
            <pc:docMk/>
            <pc:sldMk cId="4213923831" sldId="1127"/>
            <ac:spMk id="57" creationId="{AC0D4848-9214-4FA8-A0A9-1545A5E8A24B}"/>
          </ac:spMkLst>
        </pc:spChg>
        <pc:spChg chg="mod">
          <ac:chgData name="Mohamed Amer" userId="a21ca6d3-dade-4ab5-a283-3fead0ee51ee" providerId="ADAL" clId="{6678EB33-04B3-4564-AE75-E70DEF8D9C9B}" dt="2021-05-10T07:14:16.539" v="916" actId="790"/>
          <ac:spMkLst>
            <pc:docMk/>
            <pc:sldMk cId="4213923831" sldId="1127"/>
            <ac:spMk id="58" creationId="{DAF26A30-38F1-41A5-9626-E902EFC50308}"/>
          </ac:spMkLst>
        </pc:spChg>
        <pc:spChg chg="mod">
          <ac:chgData name="Mohamed Amer" userId="a21ca6d3-dade-4ab5-a283-3fead0ee51ee" providerId="ADAL" clId="{6678EB33-04B3-4564-AE75-E70DEF8D9C9B}" dt="2021-05-10T07:14:16.539" v="916" actId="790"/>
          <ac:spMkLst>
            <pc:docMk/>
            <pc:sldMk cId="4213923831" sldId="1127"/>
            <ac:spMk id="59" creationId="{3E7FD99A-29A0-4A84-9F68-72BF943679E8}"/>
          </ac:spMkLst>
        </pc:spChg>
        <pc:spChg chg="mod">
          <ac:chgData name="Mohamed Amer" userId="a21ca6d3-dade-4ab5-a283-3fead0ee51ee" providerId="ADAL" clId="{6678EB33-04B3-4564-AE75-E70DEF8D9C9B}" dt="2021-05-10T07:14:16.539" v="916" actId="790"/>
          <ac:spMkLst>
            <pc:docMk/>
            <pc:sldMk cId="4213923831" sldId="1127"/>
            <ac:spMk id="60" creationId="{26946AB9-2D1B-42F9-B1B6-BAADFFC5C37A}"/>
          </ac:spMkLst>
        </pc:spChg>
        <pc:spChg chg="mod">
          <ac:chgData name="Mohamed Amer" userId="a21ca6d3-dade-4ab5-a283-3fead0ee51ee" providerId="ADAL" clId="{6678EB33-04B3-4564-AE75-E70DEF8D9C9B}" dt="2021-05-10T07:53:59.019" v="1057" actId="13926"/>
          <ac:spMkLst>
            <pc:docMk/>
            <pc:sldMk cId="4213923831" sldId="1127"/>
            <ac:spMk id="61" creationId="{F0818A78-704D-41C5-AB7E-030D8341A8C6}"/>
          </ac:spMkLst>
        </pc:spChg>
        <pc:spChg chg="mod">
          <ac:chgData name="Mohamed Amer" userId="a21ca6d3-dade-4ab5-a283-3fead0ee51ee" providerId="ADAL" clId="{6678EB33-04B3-4564-AE75-E70DEF8D9C9B}" dt="2021-05-10T07:14:16.539" v="916" actId="790"/>
          <ac:spMkLst>
            <pc:docMk/>
            <pc:sldMk cId="4213923831" sldId="1127"/>
            <ac:spMk id="66" creationId="{FF958353-6D3C-48F2-BB22-504268BC9095}"/>
          </ac:spMkLst>
        </pc:spChg>
        <pc:spChg chg="mod">
          <ac:chgData name="Mohamed Amer" userId="a21ca6d3-dade-4ab5-a283-3fead0ee51ee" providerId="ADAL" clId="{6678EB33-04B3-4564-AE75-E70DEF8D9C9B}" dt="2021-05-10T07:14:16.539" v="916" actId="790"/>
          <ac:spMkLst>
            <pc:docMk/>
            <pc:sldMk cId="4213923831" sldId="1127"/>
            <ac:spMk id="67" creationId="{DD1AE404-3516-4EF5-B9F6-A1C2552D253E}"/>
          </ac:spMkLst>
        </pc:spChg>
        <pc:spChg chg="mod">
          <ac:chgData name="Mohamed Amer" userId="a21ca6d3-dade-4ab5-a283-3fead0ee51ee" providerId="ADAL" clId="{6678EB33-04B3-4564-AE75-E70DEF8D9C9B}" dt="2021-05-10T07:14:16.539" v="916" actId="790"/>
          <ac:spMkLst>
            <pc:docMk/>
            <pc:sldMk cId="4213923831" sldId="1127"/>
            <ac:spMk id="68" creationId="{82565B00-3DF5-486F-8B04-1AF5D4B0E87B}"/>
          </ac:spMkLst>
        </pc:spChg>
        <pc:spChg chg="mod">
          <ac:chgData name="Mohamed Amer" userId="a21ca6d3-dade-4ab5-a283-3fead0ee51ee" providerId="ADAL" clId="{6678EB33-04B3-4564-AE75-E70DEF8D9C9B}" dt="2021-05-10T07:14:16.539" v="916" actId="790"/>
          <ac:spMkLst>
            <pc:docMk/>
            <pc:sldMk cId="4213923831" sldId="1127"/>
            <ac:spMk id="69" creationId="{B0E4F700-F81A-4B63-B8AC-2C095A5CE0B5}"/>
          </ac:spMkLst>
        </pc:spChg>
        <pc:spChg chg="mod">
          <ac:chgData name="Mohamed Amer" userId="a21ca6d3-dade-4ab5-a283-3fead0ee51ee" providerId="ADAL" clId="{6678EB33-04B3-4564-AE75-E70DEF8D9C9B}" dt="2021-05-10T07:14:16.539" v="916" actId="790"/>
          <ac:spMkLst>
            <pc:docMk/>
            <pc:sldMk cId="4213923831" sldId="1127"/>
            <ac:spMk id="70" creationId="{97438273-D7E9-452D-9460-1097F84539EA}"/>
          </ac:spMkLst>
        </pc:spChg>
        <pc:spChg chg="mod">
          <ac:chgData name="Mohamed Amer" userId="a21ca6d3-dade-4ab5-a283-3fead0ee51ee" providerId="ADAL" clId="{6678EB33-04B3-4564-AE75-E70DEF8D9C9B}" dt="2021-05-10T07:25:23.472" v="943" actId="20577"/>
          <ac:spMkLst>
            <pc:docMk/>
            <pc:sldMk cId="4213923831" sldId="1127"/>
            <ac:spMk id="72" creationId="{C4CB9A56-AAFA-4235-B726-8FB091F1BD17}"/>
          </ac:spMkLst>
        </pc:spChg>
        <pc:spChg chg="mod">
          <ac:chgData name="Mohamed Amer" userId="a21ca6d3-dade-4ab5-a283-3fead0ee51ee" providerId="ADAL" clId="{6678EB33-04B3-4564-AE75-E70DEF8D9C9B}" dt="2021-05-10T07:25:59.695" v="957" actId="20577"/>
          <ac:spMkLst>
            <pc:docMk/>
            <pc:sldMk cId="4213923831" sldId="1127"/>
            <ac:spMk id="73" creationId="{A1FAC56E-6BC3-42AB-B215-FAF3D9E3E559}"/>
          </ac:spMkLst>
        </pc:spChg>
        <pc:spChg chg="mod">
          <ac:chgData name="Mohamed Amer" userId="a21ca6d3-dade-4ab5-a283-3fead0ee51ee" providerId="ADAL" clId="{6678EB33-04B3-4564-AE75-E70DEF8D9C9B}" dt="2021-05-10T07:14:16.539" v="916" actId="790"/>
          <ac:spMkLst>
            <pc:docMk/>
            <pc:sldMk cId="4213923831" sldId="1127"/>
            <ac:spMk id="74" creationId="{ED1A0B9A-4ACB-489F-B902-08C2355997C8}"/>
          </ac:spMkLst>
        </pc:spChg>
      </pc:sldChg>
      <pc:sldChg chg="modSp mod">
        <pc:chgData name="Mohamed Amer" userId="a21ca6d3-dade-4ab5-a283-3fead0ee51ee" providerId="ADAL" clId="{6678EB33-04B3-4564-AE75-E70DEF8D9C9B}" dt="2021-05-07T14:11:47.307" v="813" actId="20577"/>
        <pc:sldMkLst>
          <pc:docMk/>
          <pc:sldMk cId="79996081" sldId="1243"/>
        </pc:sldMkLst>
        <pc:spChg chg="mod">
          <ac:chgData name="Mohamed Amer" userId="a21ca6d3-dade-4ab5-a283-3fead0ee51ee" providerId="ADAL" clId="{6678EB33-04B3-4564-AE75-E70DEF8D9C9B}" dt="2021-05-07T14:11:47.307" v="813" actId="20577"/>
          <ac:spMkLst>
            <pc:docMk/>
            <pc:sldMk cId="79996081" sldId="1243"/>
            <ac:spMk id="4" creationId="{5AA7E92B-4778-476F-965C-993AC5F48229}"/>
          </ac:spMkLst>
        </pc:spChg>
      </pc:sldChg>
      <pc:sldChg chg="modSp mod">
        <pc:chgData name="Mohamed Amer" userId="a21ca6d3-dade-4ab5-a283-3fead0ee51ee" providerId="ADAL" clId="{6678EB33-04B3-4564-AE75-E70DEF8D9C9B}" dt="2021-05-07T14:11:20.789" v="791" actId="20577"/>
        <pc:sldMkLst>
          <pc:docMk/>
          <pc:sldMk cId="566436201" sldId="1359"/>
        </pc:sldMkLst>
        <pc:spChg chg="mod">
          <ac:chgData name="Mohamed Amer" userId="a21ca6d3-dade-4ab5-a283-3fead0ee51ee" providerId="ADAL" clId="{6678EB33-04B3-4564-AE75-E70DEF8D9C9B}" dt="2021-05-07T14:11:20.789" v="791" actId="20577"/>
          <ac:spMkLst>
            <pc:docMk/>
            <pc:sldMk cId="566436201" sldId="1359"/>
            <ac:spMk id="4" creationId="{398C761B-82B2-474C-B368-C72E8928DA2D}"/>
          </ac:spMkLst>
        </pc:spChg>
      </pc:sldChg>
      <pc:sldChg chg="modSp mod">
        <pc:chgData name="Mohamed Amer" userId="a21ca6d3-dade-4ab5-a283-3fead0ee51ee" providerId="ADAL" clId="{6678EB33-04B3-4564-AE75-E70DEF8D9C9B}" dt="2021-05-10T11:26:36.729" v="3619" actId="20577"/>
        <pc:sldMkLst>
          <pc:docMk/>
          <pc:sldMk cId="2588671513" sldId="1584"/>
        </pc:sldMkLst>
        <pc:spChg chg="mod">
          <ac:chgData name="Mohamed Amer" userId="a21ca6d3-dade-4ab5-a283-3fead0ee51ee" providerId="ADAL" clId="{6678EB33-04B3-4564-AE75-E70DEF8D9C9B}" dt="2021-05-10T11:26:36.729" v="3619" actId="20577"/>
          <ac:spMkLst>
            <pc:docMk/>
            <pc:sldMk cId="2588671513" sldId="1584"/>
            <ac:spMk id="10" creationId="{9E5F688A-002F-42B2-9CD9-D7900C0B01DB}"/>
          </ac:spMkLst>
        </pc:spChg>
      </pc:sldChg>
      <pc:sldChg chg="modSp mod">
        <pc:chgData name="Mohamed Amer" userId="a21ca6d3-dade-4ab5-a283-3fead0ee51ee" providerId="ADAL" clId="{6678EB33-04B3-4564-AE75-E70DEF8D9C9B}" dt="2021-05-10T11:31:09.786" v="3638" actId="20577"/>
        <pc:sldMkLst>
          <pc:docMk/>
          <pc:sldMk cId="1320698456" sldId="1590"/>
        </pc:sldMkLst>
        <pc:spChg chg="mod">
          <ac:chgData name="Mohamed Amer" userId="a21ca6d3-dade-4ab5-a283-3fead0ee51ee" providerId="ADAL" clId="{6678EB33-04B3-4564-AE75-E70DEF8D9C9B}" dt="2021-05-10T11:31:09.786" v="3638" actId="20577"/>
          <ac:spMkLst>
            <pc:docMk/>
            <pc:sldMk cId="1320698456" sldId="1590"/>
            <ac:spMk id="8" creationId="{104CB144-5DD3-43CE-B8A0-9676BBED4B39}"/>
          </ac:spMkLst>
        </pc:spChg>
      </pc:sldChg>
      <pc:sldChg chg="modSp mod">
        <pc:chgData name="Mohamed Amer" userId="a21ca6d3-dade-4ab5-a283-3fead0ee51ee" providerId="ADAL" clId="{6678EB33-04B3-4564-AE75-E70DEF8D9C9B}" dt="2021-05-10T07:49:15.382" v="1038" actId="790"/>
        <pc:sldMkLst>
          <pc:docMk/>
          <pc:sldMk cId="2188961370" sldId="1592"/>
        </pc:sldMkLst>
        <pc:spChg chg="mod">
          <ac:chgData name="Mohamed Amer" userId="a21ca6d3-dade-4ab5-a283-3fead0ee51ee" providerId="ADAL" clId="{6678EB33-04B3-4564-AE75-E70DEF8D9C9B}" dt="2021-05-10T07:49:15.382" v="1038" actId="790"/>
          <ac:spMkLst>
            <pc:docMk/>
            <pc:sldMk cId="2188961370" sldId="1592"/>
            <ac:spMk id="3" creationId="{B297F5A3-163D-43EF-B0C8-05A3D440C2BD}"/>
          </ac:spMkLst>
        </pc:spChg>
        <pc:spChg chg="mod">
          <ac:chgData name="Mohamed Amer" userId="a21ca6d3-dade-4ab5-a283-3fead0ee51ee" providerId="ADAL" clId="{6678EB33-04B3-4564-AE75-E70DEF8D9C9B}" dt="2021-05-10T07:49:15.382" v="1038" actId="790"/>
          <ac:spMkLst>
            <pc:docMk/>
            <pc:sldMk cId="2188961370" sldId="1592"/>
            <ac:spMk id="5" creationId="{0EC52AFC-7CBA-46F3-B8BB-A3D2BE2F9F16}"/>
          </ac:spMkLst>
        </pc:spChg>
        <pc:spChg chg="mod">
          <ac:chgData name="Mohamed Amer" userId="a21ca6d3-dade-4ab5-a283-3fead0ee51ee" providerId="ADAL" clId="{6678EB33-04B3-4564-AE75-E70DEF8D9C9B}" dt="2021-05-10T07:49:15.382" v="1038" actId="790"/>
          <ac:spMkLst>
            <pc:docMk/>
            <pc:sldMk cId="2188961370" sldId="1592"/>
            <ac:spMk id="7" creationId="{DDB66ACF-7C45-4A65-946D-AE12A9384959}"/>
          </ac:spMkLst>
        </pc:spChg>
        <pc:spChg chg="mod">
          <ac:chgData name="Mohamed Amer" userId="a21ca6d3-dade-4ab5-a283-3fead0ee51ee" providerId="ADAL" clId="{6678EB33-04B3-4564-AE75-E70DEF8D9C9B}" dt="2021-05-10T07:49:15.382" v="1038" actId="790"/>
          <ac:spMkLst>
            <pc:docMk/>
            <pc:sldMk cId="2188961370" sldId="1592"/>
            <ac:spMk id="8" creationId="{104CB144-5DD3-43CE-B8A0-9676BBED4B39}"/>
          </ac:spMkLst>
        </pc:spChg>
        <pc:spChg chg="mod">
          <ac:chgData name="Mohamed Amer" userId="a21ca6d3-dade-4ab5-a283-3fead0ee51ee" providerId="ADAL" clId="{6678EB33-04B3-4564-AE75-E70DEF8D9C9B}" dt="2021-05-10T07:49:15.382" v="1038" actId="790"/>
          <ac:spMkLst>
            <pc:docMk/>
            <pc:sldMk cId="2188961370" sldId="1592"/>
            <ac:spMk id="9" creationId="{02DB318A-D26F-475D-9FD3-19C3CD16A13C}"/>
          </ac:spMkLst>
        </pc:spChg>
        <pc:spChg chg="mod">
          <ac:chgData name="Mohamed Amer" userId="a21ca6d3-dade-4ab5-a283-3fead0ee51ee" providerId="ADAL" clId="{6678EB33-04B3-4564-AE75-E70DEF8D9C9B}" dt="2021-05-10T07:49:15.382" v="1038" actId="790"/>
          <ac:spMkLst>
            <pc:docMk/>
            <pc:sldMk cId="2188961370" sldId="1592"/>
            <ac:spMk id="10" creationId="{86A2524B-1788-4158-94EF-A70CD68E93D4}"/>
          </ac:spMkLst>
        </pc:spChg>
        <pc:spChg chg="mod">
          <ac:chgData name="Mohamed Amer" userId="a21ca6d3-dade-4ab5-a283-3fead0ee51ee" providerId="ADAL" clId="{6678EB33-04B3-4564-AE75-E70DEF8D9C9B}" dt="2021-05-10T07:49:15.382" v="1038" actId="790"/>
          <ac:spMkLst>
            <pc:docMk/>
            <pc:sldMk cId="2188961370" sldId="1592"/>
            <ac:spMk id="11" creationId="{85B3D98B-8160-4FAD-9334-2F1CDA8786EB}"/>
          </ac:spMkLst>
        </pc:spChg>
        <pc:spChg chg="mod">
          <ac:chgData name="Mohamed Amer" userId="a21ca6d3-dade-4ab5-a283-3fead0ee51ee" providerId="ADAL" clId="{6678EB33-04B3-4564-AE75-E70DEF8D9C9B}" dt="2021-05-10T07:49:15.382" v="1038" actId="790"/>
          <ac:spMkLst>
            <pc:docMk/>
            <pc:sldMk cId="2188961370" sldId="1592"/>
            <ac:spMk id="12" creationId="{0571186B-66AA-4347-A924-32F3CCAB933E}"/>
          </ac:spMkLst>
        </pc:spChg>
        <pc:spChg chg="mod">
          <ac:chgData name="Mohamed Amer" userId="a21ca6d3-dade-4ab5-a283-3fead0ee51ee" providerId="ADAL" clId="{6678EB33-04B3-4564-AE75-E70DEF8D9C9B}" dt="2021-05-10T07:49:15.382" v="1038" actId="790"/>
          <ac:spMkLst>
            <pc:docMk/>
            <pc:sldMk cId="2188961370" sldId="1592"/>
            <ac:spMk id="13" creationId="{F7EA6E66-D401-4A1A-BB1E-D1EE3D23B4BF}"/>
          </ac:spMkLst>
        </pc:spChg>
        <pc:spChg chg="mod">
          <ac:chgData name="Mohamed Amer" userId="a21ca6d3-dade-4ab5-a283-3fead0ee51ee" providerId="ADAL" clId="{6678EB33-04B3-4564-AE75-E70DEF8D9C9B}" dt="2021-05-10T07:49:15.382" v="1038" actId="790"/>
          <ac:spMkLst>
            <pc:docMk/>
            <pc:sldMk cId="2188961370" sldId="1592"/>
            <ac:spMk id="14" creationId="{ABCAD4BE-96B8-4ED0-960E-E3F4510A80D8}"/>
          </ac:spMkLst>
        </pc:spChg>
        <pc:spChg chg="mod">
          <ac:chgData name="Mohamed Amer" userId="a21ca6d3-dade-4ab5-a283-3fead0ee51ee" providerId="ADAL" clId="{6678EB33-04B3-4564-AE75-E70DEF8D9C9B}" dt="2021-05-10T07:49:15.382" v="1038" actId="790"/>
          <ac:spMkLst>
            <pc:docMk/>
            <pc:sldMk cId="2188961370" sldId="1592"/>
            <ac:spMk id="15" creationId="{76AF5837-2945-4164-9E93-F6466AB34476}"/>
          </ac:spMkLst>
        </pc:spChg>
        <pc:spChg chg="mod">
          <ac:chgData name="Mohamed Amer" userId="a21ca6d3-dade-4ab5-a283-3fead0ee51ee" providerId="ADAL" clId="{6678EB33-04B3-4564-AE75-E70DEF8D9C9B}" dt="2021-05-10T07:49:15.382" v="1038" actId="790"/>
          <ac:spMkLst>
            <pc:docMk/>
            <pc:sldMk cId="2188961370" sldId="1592"/>
            <ac:spMk id="16" creationId="{FA2AAE23-52A8-47BC-A9B8-29B67195DDC9}"/>
          </ac:spMkLst>
        </pc:spChg>
        <pc:spChg chg="mod">
          <ac:chgData name="Mohamed Amer" userId="a21ca6d3-dade-4ab5-a283-3fead0ee51ee" providerId="ADAL" clId="{6678EB33-04B3-4564-AE75-E70DEF8D9C9B}" dt="2021-05-10T07:49:15.382" v="1038" actId="790"/>
          <ac:spMkLst>
            <pc:docMk/>
            <pc:sldMk cId="2188961370" sldId="1592"/>
            <ac:spMk id="17" creationId="{78160450-2AC9-42BB-9395-77AAB1438493}"/>
          </ac:spMkLst>
        </pc:spChg>
        <pc:spChg chg="mod">
          <ac:chgData name="Mohamed Amer" userId="a21ca6d3-dade-4ab5-a283-3fead0ee51ee" providerId="ADAL" clId="{6678EB33-04B3-4564-AE75-E70DEF8D9C9B}" dt="2021-05-10T07:49:15.382" v="1038" actId="790"/>
          <ac:spMkLst>
            <pc:docMk/>
            <pc:sldMk cId="2188961370" sldId="1592"/>
            <ac:spMk id="18" creationId="{2F57276D-B5EE-4B3E-BFEC-DEC0772B8BAC}"/>
          </ac:spMkLst>
        </pc:spChg>
      </pc:sldChg>
      <pc:sldChg chg="modSp mod">
        <pc:chgData name="Mohamed Amer" userId="a21ca6d3-dade-4ab5-a283-3fead0ee51ee" providerId="ADAL" clId="{6678EB33-04B3-4564-AE75-E70DEF8D9C9B}" dt="2021-05-10T07:49:52.644" v="1056" actId="20577"/>
        <pc:sldMkLst>
          <pc:docMk/>
          <pc:sldMk cId="764671708" sldId="1596"/>
        </pc:sldMkLst>
        <pc:spChg chg="mod">
          <ac:chgData name="Mohamed Amer" userId="a21ca6d3-dade-4ab5-a283-3fead0ee51ee" providerId="ADAL" clId="{6678EB33-04B3-4564-AE75-E70DEF8D9C9B}" dt="2021-05-10T07:49:47.170" v="1055" actId="790"/>
          <ac:spMkLst>
            <pc:docMk/>
            <pc:sldMk cId="764671708" sldId="1596"/>
            <ac:spMk id="2" creationId="{EADB2A0B-DAFF-4F1E-ABBE-FB82D1ADBDC2}"/>
          </ac:spMkLst>
        </pc:spChg>
        <pc:spChg chg="mod">
          <ac:chgData name="Mohamed Amer" userId="a21ca6d3-dade-4ab5-a283-3fead0ee51ee" providerId="ADAL" clId="{6678EB33-04B3-4564-AE75-E70DEF8D9C9B}" dt="2021-05-10T07:49:47.170" v="1055" actId="790"/>
          <ac:spMkLst>
            <pc:docMk/>
            <pc:sldMk cId="764671708" sldId="1596"/>
            <ac:spMk id="3" creationId="{B297F5A3-163D-43EF-B0C8-05A3D440C2BD}"/>
          </ac:spMkLst>
        </pc:spChg>
        <pc:spChg chg="mod">
          <ac:chgData name="Mohamed Amer" userId="a21ca6d3-dade-4ab5-a283-3fead0ee51ee" providerId="ADAL" clId="{6678EB33-04B3-4564-AE75-E70DEF8D9C9B}" dt="2021-05-10T07:49:47.170" v="1055" actId="790"/>
          <ac:spMkLst>
            <pc:docMk/>
            <pc:sldMk cId="764671708" sldId="1596"/>
            <ac:spMk id="4" creationId="{DD62BE35-B6F2-471E-ADDB-A6311FE49478}"/>
          </ac:spMkLst>
        </pc:spChg>
        <pc:spChg chg="mod">
          <ac:chgData name="Mohamed Amer" userId="a21ca6d3-dade-4ab5-a283-3fead0ee51ee" providerId="ADAL" clId="{6678EB33-04B3-4564-AE75-E70DEF8D9C9B}" dt="2021-05-10T07:49:47.170" v="1055" actId="790"/>
          <ac:spMkLst>
            <pc:docMk/>
            <pc:sldMk cId="764671708" sldId="1596"/>
            <ac:spMk id="5" creationId="{0EC52AFC-7CBA-46F3-B8BB-A3D2BE2F9F16}"/>
          </ac:spMkLst>
        </pc:spChg>
        <pc:spChg chg="mod">
          <ac:chgData name="Mohamed Amer" userId="a21ca6d3-dade-4ab5-a283-3fead0ee51ee" providerId="ADAL" clId="{6678EB33-04B3-4564-AE75-E70DEF8D9C9B}" dt="2021-05-10T07:49:52.644" v="1056" actId="20577"/>
          <ac:spMkLst>
            <pc:docMk/>
            <pc:sldMk cId="764671708" sldId="1596"/>
            <ac:spMk id="8" creationId="{104CB144-5DD3-43CE-B8A0-9676BBED4B39}"/>
          </ac:spMkLst>
        </pc:spChg>
      </pc:sldChg>
      <pc:sldChg chg="addSp delSp modSp mod">
        <pc:chgData name="Mohamed Amer" userId="a21ca6d3-dade-4ab5-a283-3fead0ee51ee" providerId="ADAL" clId="{6678EB33-04B3-4564-AE75-E70DEF8D9C9B}" dt="2021-05-10T09:23:35.254" v="1401" actId="13926"/>
        <pc:sldMkLst>
          <pc:docMk/>
          <pc:sldMk cId="3889016360" sldId="1622"/>
        </pc:sldMkLst>
        <pc:spChg chg="del">
          <ac:chgData name="Mohamed Amer" userId="a21ca6d3-dade-4ab5-a283-3fead0ee51ee" providerId="ADAL" clId="{6678EB33-04B3-4564-AE75-E70DEF8D9C9B}" dt="2021-05-07T13:24:50.120" v="37" actId="478"/>
          <ac:spMkLst>
            <pc:docMk/>
            <pc:sldMk cId="3889016360" sldId="1622"/>
            <ac:spMk id="9" creationId="{CBE0BBB4-138E-4957-86BF-284B5AAEEE41}"/>
          </ac:spMkLst>
        </pc:spChg>
        <pc:spChg chg="mod">
          <ac:chgData name="Mohamed Amer" userId="a21ca6d3-dade-4ab5-a283-3fead0ee51ee" providerId="ADAL" clId="{6678EB33-04B3-4564-AE75-E70DEF8D9C9B}" dt="2021-05-10T08:50:30.307" v="1362" actId="790"/>
          <ac:spMkLst>
            <pc:docMk/>
            <pc:sldMk cId="3889016360" sldId="1622"/>
            <ac:spMk id="12" creationId="{7F573497-F2E9-4E7A-AE64-1228B54AE4D8}"/>
          </ac:spMkLst>
        </pc:spChg>
        <pc:spChg chg="mod ord">
          <ac:chgData name="Mohamed Amer" userId="a21ca6d3-dade-4ab5-a283-3fead0ee51ee" providerId="ADAL" clId="{6678EB33-04B3-4564-AE75-E70DEF8D9C9B}" dt="2021-05-10T08:50:30.307" v="1362" actId="790"/>
          <ac:spMkLst>
            <pc:docMk/>
            <pc:sldMk cId="3889016360" sldId="1622"/>
            <ac:spMk id="13" creationId="{B3E3AB18-EB48-4D14-B4A5-CBB2233A8639}"/>
          </ac:spMkLst>
        </pc:spChg>
        <pc:spChg chg="mod">
          <ac:chgData name="Mohamed Amer" userId="a21ca6d3-dade-4ab5-a283-3fead0ee51ee" providerId="ADAL" clId="{6678EB33-04B3-4564-AE75-E70DEF8D9C9B}" dt="2021-05-07T13:33:16.826" v="261" actId="20577"/>
          <ac:spMkLst>
            <pc:docMk/>
            <pc:sldMk cId="3889016360" sldId="1622"/>
            <ac:spMk id="15" creationId="{B99DF7E6-98FE-45FB-9AC4-CD40A702521F}"/>
          </ac:spMkLst>
        </pc:spChg>
        <pc:spChg chg="mod">
          <ac:chgData name="Mohamed Amer" userId="a21ca6d3-dade-4ab5-a283-3fead0ee51ee" providerId="ADAL" clId="{6678EB33-04B3-4564-AE75-E70DEF8D9C9B}" dt="2021-05-10T08:50:30.307" v="1362" actId="790"/>
          <ac:spMkLst>
            <pc:docMk/>
            <pc:sldMk cId="3889016360" sldId="1622"/>
            <ac:spMk id="19" creationId="{8D38F8B2-EE6B-4200-9264-8DDEF7C184E8}"/>
          </ac:spMkLst>
        </pc:spChg>
        <pc:spChg chg="mod">
          <ac:chgData name="Mohamed Amer" userId="a21ca6d3-dade-4ab5-a283-3fead0ee51ee" providerId="ADAL" clId="{6678EB33-04B3-4564-AE75-E70DEF8D9C9B}" dt="2021-05-10T08:50:30.307" v="1362" actId="790"/>
          <ac:spMkLst>
            <pc:docMk/>
            <pc:sldMk cId="3889016360" sldId="1622"/>
            <ac:spMk id="20" creationId="{072F9CC1-673F-4201-B122-9A27927D4333}"/>
          </ac:spMkLst>
        </pc:spChg>
        <pc:spChg chg="add mod">
          <ac:chgData name="Mohamed Amer" userId="a21ca6d3-dade-4ab5-a283-3fead0ee51ee" providerId="ADAL" clId="{6678EB33-04B3-4564-AE75-E70DEF8D9C9B}" dt="2021-05-10T08:50:30.307" v="1362" actId="790"/>
          <ac:spMkLst>
            <pc:docMk/>
            <pc:sldMk cId="3889016360" sldId="1622"/>
            <ac:spMk id="21" creationId="{72DB4C6D-69F9-4DAC-B190-C4017F83858A}"/>
          </ac:spMkLst>
        </pc:spChg>
        <pc:spChg chg="add mod">
          <ac:chgData name="Mohamed Amer" userId="a21ca6d3-dade-4ab5-a283-3fead0ee51ee" providerId="ADAL" clId="{6678EB33-04B3-4564-AE75-E70DEF8D9C9B}" dt="2021-05-10T08:50:30.307" v="1362" actId="790"/>
          <ac:spMkLst>
            <pc:docMk/>
            <pc:sldMk cId="3889016360" sldId="1622"/>
            <ac:spMk id="22" creationId="{3C1A6AFD-71EA-429C-9EFF-739771CFB98B}"/>
          </ac:spMkLst>
        </pc:spChg>
        <pc:spChg chg="mod">
          <ac:chgData name="Mohamed Amer" userId="a21ca6d3-dade-4ab5-a283-3fead0ee51ee" providerId="ADAL" clId="{6678EB33-04B3-4564-AE75-E70DEF8D9C9B}" dt="2021-05-07T13:37:46.945" v="375" actId="207"/>
          <ac:spMkLst>
            <pc:docMk/>
            <pc:sldMk cId="3889016360" sldId="1622"/>
            <ac:spMk id="31" creationId="{B2190D1D-31AA-451B-9266-4F72B041B0F6}"/>
          </ac:spMkLst>
        </pc:spChg>
        <pc:spChg chg="mod">
          <ac:chgData name="Mohamed Amer" userId="a21ca6d3-dade-4ab5-a283-3fead0ee51ee" providerId="ADAL" clId="{6678EB33-04B3-4564-AE75-E70DEF8D9C9B}" dt="2021-05-10T08:50:30.307" v="1362" actId="790"/>
          <ac:spMkLst>
            <pc:docMk/>
            <pc:sldMk cId="3889016360" sldId="1622"/>
            <ac:spMk id="32" creationId="{B5BE4D6D-2028-405C-AE28-156F664B9CA7}"/>
          </ac:spMkLst>
        </pc:spChg>
        <pc:spChg chg="mod">
          <ac:chgData name="Mohamed Amer" userId="a21ca6d3-dade-4ab5-a283-3fead0ee51ee" providerId="ADAL" clId="{6678EB33-04B3-4564-AE75-E70DEF8D9C9B}" dt="2021-05-07T13:37:50.253" v="376" actId="207"/>
          <ac:spMkLst>
            <pc:docMk/>
            <pc:sldMk cId="3889016360" sldId="1622"/>
            <ac:spMk id="33" creationId="{8438B3F5-514A-48FC-9C0F-E59E34E9FCA1}"/>
          </ac:spMkLst>
        </pc:spChg>
        <pc:spChg chg="mod">
          <ac:chgData name="Mohamed Amer" userId="a21ca6d3-dade-4ab5-a283-3fead0ee51ee" providerId="ADAL" clId="{6678EB33-04B3-4564-AE75-E70DEF8D9C9B}" dt="2021-05-07T13:42:12.371" v="497" actId="1076"/>
          <ac:spMkLst>
            <pc:docMk/>
            <pc:sldMk cId="3889016360" sldId="1622"/>
            <ac:spMk id="34" creationId="{067D8DC0-2991-4BA9-BA6D-B7994EE18FC8}"/>
          </ac:spMkLst>
        </pc:spChg>
        <pc:spChg chg="mod">
          <ac:chgData name="Mohamed Amer" userId="a21ca6d3-dade-4ab5-a283-3fead0ee51ee" providerId="ADAL" clId="{6678EB33-04B3-4564-AE75-E70DEF8D9C9B}" dt="2021-05-07T13:40:06.763" v="428" actId="20577"/>
          <ac:spMkLst>
            <pc:docMk/>
            <pc:sldMk cId="3889016360" sldId="1622"/>
            <ac:spMk id="41" creationId="{8451CD2F-576F-49A8-95D9-F5C8BAFFF5F5}"/>
          </ac:spMkLst>
        </pc:spChg>
        <pc:graphicFrameChg chg="mod modGraphic">
          <ac:chgData name="Mohamed Amer" userId="a21ca6d3-dade-4ab5-a283-3fead0ee51ee" providerId="ADAL" clId="{6678EB33-04B3-4564-AE75-E70DEF8D9C9B}" dt="2021-05-10T09:23:35.254" v="1401" actId="13926"/>
          <ac:graphicFrameMkLst>
            <pc:docMk/>
            <pc:sldMk cId="3889016360" sldId="1622"/>
            <ac:graphicFrameMk id="14" creationId="{69D72ECC-A97E-4460-AFF8-87A5BDF4D9FC}"/>
          </ac:graphicFrameMkLst>
        </pc:graphicFrameChg>
        <pc:picChg chg="del">
          <ac:chgData name="Mohamed Amer" userId="a21ca6d3-dade-4ab5-a283-3fead0ee51ee" providerId="ADAL" clId="{6678EB33-04B3-4564-AE75-E70DEF8D9C9B}" dt="2021-05-07T13:26:24.315" v="51" actId="478"/>
          <ac:picMkLst>
            <pc:docMk/>
            <pc:sldMk cId="3889016360" sldId="1622"/>
            <ac:picMk id="16" creationId="{EC36C073-27C5-4A03-B734-4359CCE2C616}"/>
          </ac:picMkLst>
        </pc:picChg>
        <pc:picChg chg="mod">
          <ac:chgData name="Mohamed Amer" userId="a21ca6d3-dade-4ab5-a283-3fead0ee51ee" providerId="ADAL" clId="{6678EB33-04B3-4564-AE75-E70DEF8D9C9B}" dt="2021-05-07T13:26:27.182" v="52" actId="1076"/>
          <ac:picMkLst>
            <pc:docMk/>
            <pc:sldMk cId="3889016360" sldId="1622"/>
            <ac:picMk id="17" creationId="{7D1E2E2D-CBFC-4675-AC7D-0A3D93AEF33E}"/>
          </ac:picMkLst>
        </pc:picChg>
        <pc:picChg chg="mod">
          <ac:chgData name="Mohamed Amer" userId="a21ca6d3-dade-4ab5-a283-3fead0ee51ee" providerId="ADAL" clId="{6678EB33-04B3-4564-AE75-E70DEF8D9C9B}" dt="2021-05-07T13:26:27.182" v="52" actId="1076"/>
          <ac:picMkLst>
            <pc:docMk/>
            <pc:sldMk cId="3889016360" sldId="1622"/>
            <ac:picMk id="18" creationId="{E18BA1C8-4E43-4F99-9AC9-0EEBE50208AE}"/>
          </ac:picMkLst>
        </pc:picChg>
      </pc:sldChg>
      <pc:sldChg chg="modSp mod">
        <pc:chgData name="Mohamed Amer" userId="a21ca6d3-dade-4ab5-a283-3fead0ee51ee" providerId="ADAL" clId="{6678EB33-04B3-4564-AE75-E70DEF8D9C9B}" dt="2021-05-07T14:29:07.010" v="915" actId="20577"/>
        <pc:sldMkLst>
          <pc:docMk/>
          <pc:sldMk cId="3676979894" sldId="1627"/>
        </pc:sldMkLst>
        <pc:spChg chg="mod">
          <ac:chgData name="Mohamed Amer" userId="a21ca6d3-dade-4ab5-a283-3fead0ee51ee" providerId="ADAL" clId="{6678EB33-04B3-4564-AE75-E70DEF8D9C9B}" dt="2021-05-07T14:29:07.010" v="915" actId="20577"/>
          <ac:spMkLst>
            <pc:docMk/>
            <pc:sldMk cId="3676979894" sldId="1627"/>
            <ac:spMk id="11" creationId="{3B74ABDC-313C-4581-ABCC-FE427075B6A1}"/>
          </ac:spMkLst>
        </pc:spChg>
        <pc:spChg chg="mod">
          <ac:chgData name="Mohamed Amer" userId="a21ca6d3-dade-4ab5-a283-3fead0ee51ee" providerId="ADAL" clId="{6678EB33-04B3-4564-AE75-E70DEF8D9C9B}" dt="2021-05-07T14:28:42.081" v="909" actId="13926"/>
          <ac:spMkLst>
            <pc:docMk/>
            <pc:sldMk cId="3676979894" sldId="1627"/>
            <ac:spMk id="12" creationId="{7DEE1328-88BF-4977-AE8C-4CBBAB128356}"/>
          </ac:spMkLst>
        </pc:spChg>
        <pc:spChg chg="mod">
          <ac:chgData name="Mohamed Amer" userId="a21ca6d3-dade-4ab5-a283-3fead0ee51ee" providerId="ADAL" clId="{6678EB33-04B3-4564-AE75-E70DEF8D9C9B}" dt="2021-05-07T14:28:33.544" v="908" actId="20577"/>
          <ac:spMkLst>
            <pc:docMk/>
            <pc:sldMk cId="3676979894" sldId="1627"/>
            <ac:spMk id="13" creationId="{5FF95E59-D61F-41B4-8B92-5453925E9460}"/>
          </ac:spMkLst>
        </pc:spChg>
        <pc:spChg chg="mod">
          <ac:chgData name="Mohamed Amer" userId="a21ca6d3-dade-4ab5-a283-3fead0ee51ee" providerId="ADAL" clId="{6678EB33-04B3-4564-AE75-E70DEF8D9C9B}" dt="2021-05-07T14:10:26.966" v="790" actId="20577"/>
          <ac:spMkLst>
            <pc:docMk/>
            <pc:sldMk cId="3676979894" sldId="1627"/>
            <ac:spMk id="15" creationId="{CBCB4A64-7D74-4A66-A44F-1E280B2BE44A}"/>
          </ac:spMkLst>
        </pc:spChg>
      </pc:sldChg>
      <pc:sldChg chg="modSp mod">
        <pc:chgData name="Mohamed Amer" userId="a21ca6d3-dade-4ab5-a283-3fead0ee51ee" providerId="ADAL" clId="{6678EB33-04B3-4564-AE75-E70DEF8D9C9B}" dt="2021-05-10T09:54:25.965" v="1527" actId="13926"/>
        <pc:sldMkLst>
          <pc:docMk/>
          <pc:sldMk cId="3386173775" sldId="1630"/>
        </pc:sldMkLst>
        <pc:spChg chg="mod">
          <ac:chgData name="Mohamed Amer" userId="a21ca6d3-dade-4ab5-a283-3fead0ee51ee" providerId="ADAL" clId="{6678EB33-04B3-4564-AE75-E70DEF8D9C9B}" dt="2021-05-10T09:54:25.965" v="1527" actId="13926"/>
          <ac:spMkLst>
            <pc:docMk/>
            <pc:sldMk cId="3386173775" sldId="1630"/>
            <ac:spMk id="3" creationId="{08EC9F62-09EB-4BD4-A706-509F1A744AF3}"/>
          </ac:spMkLst>
        </pc:spChg>
      </pc:sldChg>
      <pc:sldChg chg="modSp mod">
        <pc:chgData name="Mohamed Amer" userId="a21ca6d3-dade-4ab5-a283-3fead0ee51ee" providerId="ADAL" clId="{6678EB33-04B3-4564-AE75-E70DEF8D9C9B}" dt="2021-05-10T09:57:24.071" v="1575" actId="20577"/>
        <pc:sldMkLst>
          <pc:docMk/>
          <pc:sldMk cId="378864934" sldId="1631"/>
        </pc:sldMkLst>
        <pc:spChg chg="mod">
          <ac:chgData name="Mohamed Amer" userId="a21ca6d3-dade-4ab5-a283-3fead0ee51ee" providerId="ADAL" clId="{6678EB33-04B3-4564-AE75-E70DEF8D9C9B}" dt="2021-05-10T09:57:24.071" v="1575" actId="20577"/>
          <ac:spMkLst>
            <pc:docMk/>
            <pc:sldMk cId="378864934" sldId="1631"/>
            <ac:spMk id="3" creationId="{08EC9F62-09EB-4BD4-A706-509F1A744AF3}"/>
          </ac:spMkLst>
        </pc:spChg>
      </pc:sldChg>
      <pc:sldChg chg="modSp mod">
        <pc:chgData name="Mohamed Amer" userId="a21ca6d3-dade-4ab5-a283-3fead0ee51ee" providerId="ADAL" clId="{6678EB33-04B3-4564-AE75-E70DEF8D9C9B}" dt="2021-05-10T10:00:50.365" v="1633" actId="13926"/>
        <pc:sldMkLst>
          <pc:docMk/>
          <pc:sldMk cId="794038774" sldId="1632"/>
        </pc:sldMkLst>
        <pc:spChg chg="mod">
          <ac:chgData name="Mohamed Amer" userId="a21ca6d3-dade-4ab5-a283-3fead0ee51ee" providerId="ADAL" clId="{6678EB33-04B3-4564-AE75-E70DEF8D9C9B}" dt="2021-05-10T10:00:50.365" v="1633" actId="13926"/>
          <ac:spMkLst>
            <pc:docMk/>
            <pc:sldMk cId="794038774" sldId="1632"/>
            <ac:spMk id="3" creationId="{08EC9F62-09EB-4BD4-A706-509F1A744AF3}"/>
          </ac:spMkLst>
        </pc:spChg>
      </pc:sldChg>
      <pc:sldChg chg="modSp mod">
        <pc:chgData name="Mohamed Amer" userId="a21ca6d3-dade-4ab5-a283-3fead0ee51ee" providerId="ADAL" clId="{6678EB33-04B3-4564-AE75-E70DEF8D9C9B}" dt="2021-05-10T10:25:01.415" v="2281" actId="27636"/>
        <pc:sldMkLst>
          <pc:docMk/>
          <pc:sldMk cId="3736194387" sldId="1633"/>
        </pc:sldMkLst>
        <pc:spChg chg="mod">
          <ac:chgData name="Mohamed Amer" userId="a21ca6d3-dade-4ab5-a283-3fead0ee51ee" providerId="ADAL" clId="{6678EB33-04B3-4564-AE75-E70DEF8D9C9B}" dt="2021-05-10T10:24:56.617" v="2279" actId="20577"/>
          <ac:spMkLst>
            <pc:docMk/>
            <pc:sldMk cId="3736194387" sldId="1633"/>
            <ac:spMk id="2" creationId="{156CF523-1781-40DD-8DBD-0791B3D438DA}"/>
          </ac:spMkLst>
        </pc:spChg>
        <pc:spChg chg="mod">
          <ac:chgData name="Mohamed Amer" userId="a21ca6d3-dade-4ab5-a283-3fead0ee51ee" providerId="ADAL" clId="{6678EB33-04B3-4564-AE75-E70DEF8D9C9B}" dt="2021-05-10T10:25:01.415" v="2281" actId="27636"/>
          <ac:spMkLst>
            <pc:docMk/>
            <pc:sldMk cId="3736194387" sldId="1633"/>
            <ac:spMk id="3" creationId="{08EC9F62-09EB-4BD4-A706-509F1A744AF3}"/>
          </ac:spMkLst>
        </pc:spChg>
      </pc:sldChg>
      <pc:sldChg chg="modSp mod">
        <pc:chgData name="Mohamed Amer" userId="a21ca6d3-dade-4ab5-a283-3fead0ee51ee" providerId="ADAL" clId="{6678EB33-04B3-4564-AE75-E70DEF8D9C9B}" dt="2021-05-10T10:24:45.867" v="2253" actId="6549"/>
        <pc:sldMkLst>
          <pc:docMk/>
          <pc:sldMk cId="974490593" sldId="1634"/>
        </pc:sldMkLst>
        <pc:spChg chg="mod">
          <ac:chgData name="Mohamed Amer" userId="a21ca6d3-dade-4ab5-a283-3fead0ee51ee" providerId="ADAL" clId="{6678EB33-04B3-4564-AE75-E70DEF8D9C9B}" dt="2021-05-10T10:24:41.384" v="2251" actId="20577"/>
          <ac:spMkLst>
            <pc:docMk/>
            <pc:sldMk cId="974490593" sldId="1634"/>
            <ac:spMk id="2" creationId="{156CF523-1781-40DD-8DBD-0791B3D438DA}"/>
          </ac:spMkLst>
        </pc:spChg>
        <pc:spChg chg="mod">
          <ac:chgData name="Mohamed Amer" userId="a21ca6d3-dade-4ab5-a283-3fead0ee51ee" providerId="ADAL" clId="{6678EB33-04B3-4564-AE75-E70DEF8D9C9B}" dt="2021-05-10T10:24:45.867" v="2253" actId="6549"/>
          <ac:spMkLst>
            <pc:docMk/>
            <pc:sldMk cId="974490593" sldId="1634"/>
            <ac:spMk id="3" creationId="{08EC9F62-09EB-4BD4-A706-509F1A744AF3}"/>
          </ac:spMkLst>
        </pc:spChg>
      </pc:sldChg>
      <pc:sldChg chg="modSp mod">
        <pc:chgData name="Mohamed Amer" userId="a21ca6d3-dade-4ab5-a283-3fead0ee51ee" providerId="ADAL" clId="{6678EB33-04B3-4564-AE75-E70DEF8D9C9B}" dt="2021-05-10T08:26:55.134" v="1307" actId="13926"/>
        <pc:sldMkLst>
          <pc:docMk/>
          <pc:sldMk cId="4034896982" sldId="1635"/>
        </pc:sldMkLst>
        <pc:spChg chg="mod">
          <ac:chgData name="Mohamed Amer" userId="a21ca6d3-dade-4ab5-a283-3fead0ee51ee" providerId="ADAL" clId="{6678EB33-04B3-4564-AE75-E70DEF8D9C9B}" dt="2021-05-10T08:26:55.134" v="1307" actId="13926"/>
          <ac:spMkLst>
            <pc:docMk/>
            <pc:sldMk cId="4034896982" sldId="1635"/>
            <ac:spMk id="8" creationId="{20673618-C0A0-4425-B910-7DD208FB28C2}"/>
          </ac:spMkLst>
        </pc:spChg>
      </pc:sldChg>
      <pc:sldChg chg="modSp add mod">
        <pc:chgData name="Mohamed Amer" userId="a21ca6d3-dade-4ab5-a283-3fead0ee51ee" providerId="ADAL" clId="{6678EB33-04B3-4564-AE75-E70DEF8D9C9B}" dt="2021-05-10T11:07:59.394" v="3535" actId="20577"/>
        <pc:sldMkLst>
          <pc:docMk/>
          <pc:sldMk cId="3966069191" sldId="1636"/>
        </pc:sldMkLst>
        <pc:spChg chg="mod">
          <ac:chgData name="Mohamed Amer" userId="a21ca6d3-dade-4ab5-a283-3fead0ee51ee" providerId="ADAL" clId="{6678EB33-04B3-4564-AE75-E70DEF8D9C9B}" dt="2021-05-10T11:05:47.742" v="3523" actId="790"/>
          <ac:spMkLst>
            <pc:docMk/>
            <pc:sldMk cId="3966069191" sldId="1636"/>
            <ac:spMk id="6" creationId="{91F3AAFB-D9F6-422B-B1BE-D7820A1ED955}"/>
          </ac:spMkLst>
        </pc:spChg>
        <pc:spChg chg="mod">
          <ac:chgData name="Mohamed Amer" userId="a21ca6d3-dade-4ab5-a283-3fead0ee51ee" providerId="ADAL" clId="{6678EB33-04B3-4564-AE75-E70DEF8D9C9B}" dt="2021-05-10T11:07:59.394" v="3535" actId="20577"/>
          <ac:spMkLst>
            <pc:docMk/>
            <pc:sldMk cId="3966069191" sldId="1636"/>
            <ac:spMk id="8" creationId="{20673618-C0A0-4425-B910-7DD208FB28C2}"/>
          </ac:spMkLst>
        </pc:spChg>
      </pc:sldChg>
      <pc:sldChg chg="modSp mod">
        <pc:chgData name="Mohamed Amer" userId="a21ca6d3-dade-4ab5-a283-3fead0ee51ee" providerId="ADAL" clId="{6678EB33-04B3-4564-AE75-E70DEF8D9C9B}" dt="2021-05-10T10:03:28.602" v="1718" actId="20577"/>
        <pc:sldMkLst>
          <pc:docMk/>
          <pc:sldMk cId="709728827" sldId="1637"/>
        </pc:sldMkLst>
        <pc:spChg chg="mod">
          <ac:chgData name="Mohamed Amer" userId="a21ca6d3-dade-4ab5-a283-3fead0ee51ee" providerId="ADAL" clId="{6678EB33-04B3-4564-AE75-E70DEF8D9C9B}" dt="2021-05-10T10:03:28.602" v="1718" actId="20577"/>
          <ac:spMkLst>
            <pc:docMk/>
            <pc:sldMk cId="709728827" sldId="1637"/>
            <ac:spMk id="3" creationId="{08EC9F62-09EB-4BD4-A706-509F1A744AF3}"/>
          </ac:spMkLst>
        </pc:spChg>
      </pc:sldChg>
      <pc:sldChg chg="modSp mod">
        <pc:chgData name="Mohamed Amer" userId="a21ca6d3-dade-4ab5-a283-3fead0ee51ee" providerId="ADAL" clId="{6678EB33-04B3-4564-AE75-E70DEF8D9C9B}" dt="2021-05-10T09:46:58.820" v="1481" actId="20577"/>
        <pc:sldMkLst>
          <pc:docMk/>
          <pc:sldMk cId="4215045609" sldId="1638"/>
        </pc:sldMkLst>
        <pc:spChg chg="mod">
          <ac:chgData name="Mohamed Amer" userId="a21ca6d3-dade-4ab5-a283-3fead0ee51ee" providerId="ADAL" clId="{6678EB33-04B3-4564-AE75-E70DEF8D9C9B}" dt="2021-05-10T09:46:58.820" v="1481" actId="20577"/>
          <ac:spMkLst>
            <pc:docMk/>
            <pc:sldMk cId="4215045609" sldId="1638"/>
            <ac:spMk id="3" creationId="{08EC9F62-09EB-4BD4-A706-509F1A744AF3}"/>
          </ac:spMkLst>
        </pc:spChg>
      </pc:sldChg>
    </pc:docChg>
  </pc:docChgLst>
  <pc:docChgLst>
    <pc:chgData name="Daphnée Rotenbach" userId="7408d6fd-eaeb-47da-89e0-711fd1361cf1" providerId="ADAL" clId="{C9D903A4-46E6-4893-AFC2-D270D0EA1800}"/>
    <pc:docChg chg="undo redo custSel addSld delSld modSld sldOrd">
      <pc:chgData name="Daphnée Rotenbach" userId="7408d6fd-eaeb-47da-89e0-711fd1361cf1" providerId="ADAL" clId="{C9D903A4-46E6-4893-AFC2-D270D0EA1800}" dt="2021-05-10T14:55:15.694" v="2976" actId="478"/>
      <pc:docMkLst>
        <pc:docMk/>
      </pc:docMkLst>
      <pc:sldChg chg="addSp delSp modSp mod">
        <pc:chgData name="Daphnée Rotenbach" userId="7408d6fd-eaeb-47da-89e0-711fd1361cf1" providerId="ADAL" clId="{C9D903A4-46E6-4893-AFC2-D270D0EA1800}" dt="2021-05-10T13:48:39.952" v="1726" actId="207"/>
        <pc:sldMkLst>
          <pc:docMk/>
          <pc:sldMk cId="1405841023" sldId="272"/>
        </pc:sldMkLst>
        <pc:spChg chg="mod">
          <ac:chgData name="Daphnée Rotenbach" userId="7408d6fd-eaeb-47da-89e0-711fd1361cf1" providerId="ADAL" clId="{C9D903A4-46E6-4893-AFC2-D270D0EA1800}" dt="2021-05-10T13:48:39.952" v="1726" actId="207"/>
          <ac:spMkLst>
            <pc:docMk/>
            <pc:sldMk cId="1405841023" sldId="272"/>
            <ac:spMk id="5" creationId="{F28BEFC4-2618-4EBB-BE54-39403AE58486}"/>
          </ac:spMkLst>
        </pc:spChg>
        <pc:spChg chg="add mod">
          <ac:chgData name="Daphnée Rotenbach" userId="7408d6fd-eaeb-47da-89e0-711fd1361cf1" providerId="ADAL" clId="{C9D903A4-46E6-4893-AFC2-D270D0EA1800}" dt="2021-05-10T11:25:56.530" v="1655" actId="255"/>
          <ac:spMkLst>
            <pc:docMk/>
            <pc:sldMk cId="1405841023" sldId="272"/>
            <ac:spMk id="22" creationId="{8E7C1099-7725-434B-929E-69F5F7AA8D9E}"/>
          </ac:spMkLst>
        </pc:spChg>
        <pc:spChg chg="del mod">
          <ac:chgData name="Daphnée Rotenbach" userId="7408d6fd-eaeb-47da-89e0-711fd1361cf1" providerId="ADAL" clId="{C9D903A4-46E6-4893-AFC2-D270D0EA1800}" dt="2021-05-10T11:25:37.888" v="1651" actId="478"/>
          <ac:spMkLst>
            <pc:docMk/>
            <pc:sldMk cId="1405841023" sldId="272"/>
            <ac:spMk id="23" creationId="{49C4ED4B-BD0A-4BAD-A87E-DE7E698101DF}"/>
          </ac:spMkLst>
        </pc:spChg>
        <pc:spChg chg="add del mod">
          <ac:chgData name="Daphnée Rotenbach" userId="7408d6fd-eaeb-47da-89e0-711fd1361cf1" providerId="ADAL" clId="{C9D903A4-46E6-4893-AFC2-D270D0EA1800}" dt="2021-05-10T11:25:27.132" v="1648"/>
          <ac:spMkLst>
            <pc:docMk/>
            <pc:sldMk cId="1405841023" sldId="272"/>
            <ac:spMk id="24" creationId="{64256724-8774-4E4B-8741-44D933FE8C4C}"/>
          </ac:spMkLst>
        </pc:spChg>
      </pc:sldChg>
      <pc:sldChg chg="addSp delSp modSp del mod">
        <pc:chgData name="Daphnée Rotenbach" userId="7408d6fd-eaeb-47da-89e0-711fd1361cf1" providerId="ADAL" clId="{C9D903A4-46E6-4893-AFC2-D270D0EA1800}" dt="2021-05-10T09:47:08.775" v="1316" actId="47"/>
        <pc:sldMkLst>
          <pc:docMk/>
          <pc:sldMk cId="3020509222" sldId="644"/>
        </pc:sldMkLst>
        <pc:spChg chg="del">
          <ac:chgData name="Daphnée Rotenbach" userId="7408d6fd-eaeb-47da-89e0-711fd1361cf1" providerId="ADAL" clId="{C9D903A4-46E6-4893-AFC2-D270D0EA1800}" dt="2021-05-10T09:22:07.891" v="924" actId="478"/>
          <ac:spMkLst>
            <pc:docMk/>
            <pc:sldMk cId="3020509222" sldId="644"/>
            <ac:spMk id="3" creationId="{00000000-0000-0000-0000-000000000000}"/>
          </ac:spMkLst>
        </pc:spChg>
        <pc:spChg chg="del mod">
          <ac:chgData name="Daphnée Rotenbach" userId="7408d6fd-eaeb-47da-89e0-711fd1361cf1" providerId="ADAL" clId="{C9D903A4-46E6-4893-AFC2-D270D0EA1800}" dt="2021-05-10T09:07:52.683" v="812" actId="478"/>
          <ac:spMkLst>
            <pc:docMk/>
            <pc:sldMk cId="3020509222" sldId="644"/>
            <ac:spMk id="6" creationId="{00000000-0000-0000-0000-000000000000}"/>
          </ac:spMkLst>
        </pc:spChg>
        <pc:spChg chg="del">
          <ac:chgData name="Daphnée Rotenbach" userId="7408d6fd-eaeb-47da-89e0-711fd1361cf1" providerId="ADAL" clId="{C9D903A4-46E6-4893-AFC2-D270D0EA1800}" dt="2021-05-10T09:25:46.312" v="972" actId="478"/>
          <ac:spMkLst>
            <pc:docMk/>
            <pc:sldMk cId="3020509222" sldId="644"/>
            <ac:spMk id="8" creationId="{00000000-0000-0000-0000-000000000000}"/>
          </ac:spMkLst>
        </pc:spChg>
        <pc:spChg chg="del">
          <ac:chgData name="Daphnée Rotenbach" userId="7408d6fd-eaeb-47da-89e0-711fd1361cf1" providerId="ADAL" clId="{C9D903A4-46E6-4893-AFC2-D270D0EA1800}" dt="2021-05-10T09:22:04.593" v="923" actId="478"/>
          <ac:spMkLst>
            <pc:docMk/>
            <pc:sldMk cId="3020509222" sldId="644"/>
            <ac:spMk id="28" creationId="{00000000-0000-0000-0000-000000000000}"/>
          </ac:spMkLst>
        </pc:spChg>
        <pc:spChg chg="mod">
          <ac:chgData name="Daphnée Rotenbach" userId="7408d6fd-eaeb-47da-89e0-711fd1361cf1" providerId="ADAL" clId="{C9D903A4-46E6-4893-AFC2-D270D0EA1800}" dt="2021-05-10T09:22:12.575" v="925" actId="478"/>
          <ac:spMkLst>
            <pc:docMk/>
            <pc:sldMk cId="3020509222" sldId="644"/>
            <ac:spMk id="42" creationId="{4C321A5D-7F1D-4984-9D81-0944BD9D481E}"/>
          </ac:spMkLst>
        </pc:spChg>
        <pc:spChg chg="del mod">
          <ac:chgData name="Daphnée Rotenbach" userId="7408d6fd-eaeb-47da-89e0-711fd1361cf1" providerId="ADAL" clId="{C9D903A4-46E6-4893-AFC2-D270D0EA1800}" dt="2021-05-10T09:08:09.266" v="825" actId="478"/>
          <ac:spMkLst>
            <pc:docMk/>
            <pc:sldMk cId="3020509222" sldId="644"/>
            <ac:spMk id="44" creationId="{F6EF2163-4591-46CD-8628-F58C97BD182A}"/>
          </ac:spMkLst>
        </pc:spChg>
        <pc:spChg chg="del mod">
          <ac:chgData name="Daphnée Rotenbach" userId="7408d6fd-eaeb-47da-89e0-711fd1361cf1" providerId="ADAL" clId="{C9D903A4-46E6-4893-AFC2-D270D0EA1800}" dt="2021-05-10T09:08:05.585" v="824" actId="478"/>
          <ac:spMkLst>
            <pc:docMk/>
            <pc:sldMk cId="3020509222" sldId="644"/>
            <ac:spMk id="45" creationId="{F9EA0AED-6A2C-4318-82D5-9629F79C8324}"/>
          </ac:spMkLst>
        </pc:spChg>
        <pc:spChg chg="del mod">
          <ac:chgData name="Daphnée Rotenbach" userId="7408d6fd-eaeb-47da-89e0-711fd1361cf1" providerId="ADAL" clId="{C9D903A4-46E6-4893-AFC2-D270D0EA1800}" dt="2021-05-10T09:08:12.082" v="827" actId="478"/>
          <ac:spMkLst>
            <pc:docMk/>
            <pc:sldMk cId="3020509222" sldId="644"/>
            <ac:spMk id="46" creationId="{FC8F2589-622D-4D71-AF4D-EE76EA89FC15}"/>
          </ac:spMkLst>
        </pc:spChg>
        <pc:spChg chg="del mod">
          <ac:chgData name="Daphnée Rotenbach" userId="7408d6fd-eaeb-47da-89e0-711fd1361cf1" providerId="ADAL" clId="{C9D903A4-46E6-4893-AFC2-D270D0EA1800}" dt="2021-05-10T09:17:33.877" v="875" actId="478"/>
          <ac:spMkLst>
            <pc:docMk/>
            <pc:sldMk cId="3020509222" sldId="644"/>
            <ac:spMk id="49" creationId="{A092B22C-3945-49CE-9FB9-E4D6E28545D2}"/>
          </ac:spMkLst>
        </pc:spChg>
        <pc:spChg chg="add del mod">
          <ac:chgData name="Daphnée Rotenbach" userId="7408d6fd-eaeb-47da-89e0-711fd1361cf1" providerId="ADAL" clId="{C9D903A4-46E6-4893-AFC2-D270D0EA1800}" dt="2021-05-10T09:23:46.936" v="935" actId="478"/>
          <ac:spMkLst>
            <pc:docMk/>
            <pc:sldMk cId="3020509222" sldId="644"/>
            <ac:spMk id="50" creationId="{6D9F7897-B97D-4745-A6E4-B8B38B3A60B5}"/>
          </ac:spMkLst>
        </pc:spChg>
        <pc:spChg chg="mod">
          <ac:chgData name="Daphnée Rotenbach" userId="7408d6fd-eaeb-47da-89e0-711fd1361cf1" providerId="ADAL" clId="{C9D903A4-46E6-4893-AFC2-D270D0EA1800}" dt="2021-05-10T09:22:12.575" v="925" actId="478"/>
          <ac:spMkLst>
            <pc:docMk/>
            <pc:sldMk cId="3020509222" sldId="644"/>
            <ac:spMk id="51" creationId="{66252EC7-8F12-4CC3-973B-6944B42C9853}"/>
          </ac:spMkLst>
        </pc:spChg>
        <pc:spChg chg="del mod">
          <ac:chgData name="Daphnée Rotenbach" userId="7408d6fd-eaeb-47da-89e0-711fd1361cf1" providerId="ADAL" clId="{C9D903A4-46E6-4893-AFC2-D270D0EA1800}" dt="2021-05-10T09:22:16.704" v="927" actId="478"/>
          <ac:spMkLst>
            <pc:docMk/>
            <pc:sldMk cId="3020509222" sldId="644"/>
            <ac:spMk id="52" creationId="{A4D4E6EE-BF33-4C6C-A042-81F9C25290EA}"/>
          </ac:spMkLst>
        </pc:spChg>
        <pc:spChg chg="del mod">
          <ac:chgData name="Daphnée Rotenbach" userId="7408d6fd-eaeb-47da-89e0-711fd1361cf1" providerId="ADAL" clId="{C9D903A4-46E6-4893-AFC2-D270D0EA1800}" dt="2021-05-10T09:17:50.305" v="879" actId="478"/>
          <ac:spMkLst>
            <pc:docMk/>
            <pc:sldMk cId="3020509222" sldId="644"/>
            <ac:spMk id="53" creationId="{C2F93EF9-42E8-476A-BA26-E07473680A9E}"/>
          </ac:spMkLst>
        </pc:spChg>
        <pc:spChg chg="mod">
          <ac:chgData name="Daphnée Rotenbach" userId="7408d6fd-eaeb-47da-89e0-711fd1361cf1" providerId="ADAL" clId="{C9D903A4-46E6-4893-AFC2-D270D0EA1800}" dt="2021-05-10T09:22:12.575" v="925" actId="478"/>
          <ac:spMkLst>
            <pc:docMk/>
            <pc:sldMk cId="3020509222" sldId="644"/>
            <ac:spMk id="58" creationId="{4310A698-84EA-40FF-AE00-06B9516A6E93}"/>
          </ac:spMkLst>
        </pc:spChg>
        <pc:spChg chg="del mod">
          <ac:chgData name="Daphnée Rotenbach" userId="7408d6fd-eaeb-47da-89e0-711fd1361cf1" providerId="ADAL" clId="{C9D903A4-46E6-4893-AFC2-D270D0EA1800}" dt="2021-05-10T09:17:44.247" v="877" actId="478"/>
          <ac:spMkLst>
            <pc:docMk/>
            <pc:sldMk cId="3020509222" sldId="644"/>
            <ac:spMk id="67" creationId="{671ED0B5-B661-4BDC-B155-5671C52100F7}"/>
          </ac:spMkLst>
        </pc:spChg>
        <pc:spChg chg="del mod">
          <ac:chgData name="Daphnée Rotenbach" userId="7408d6fd-eaeb-47da-89e0-711fd1361cf1" providerId="ADAL" clId="{C9D903A4-46E6-4893-AFC2-D270D0EA1800}" dt="2021-05-10T09:17:37.841" v="876" actId="478"/>
          <ac:spMkLst>
            <pc:docMk/>
            <pc:sldMk cId="3020509222" sldId="644"/>
            <ac:spMk id="68" creationId="{624D5DAF-1371-4D63-AC18-44CF92B05397}"/>
          </ac:spMkLst>
        </pc:spChg>
        <pc:spChg chg="mod">
          <ac:chgData name="Daphnée Rotenbach" userId="7408d6fd-eaeb-47da-89e0-711fd1361cf1" providerId="ADAL" clId="{C9D903A4-46E6-4893-AFC2-D270D0EA1800}" dt="2021-05-10T09:22:12.575" v="925" actId="478"/>
          <ac:spMkLst>
            <pc:docMk/>
            <pc:sldMk cId="3020509222" sldId="644"/>
            <ac:spMk id="69" creationId="{9D13356C-5898-4B0A-9099-09FE03818FD9}"/>
          </ac:spMkLst>
        </pc:spChg>
        <pc:spChg chg="mod">
          <ac:chgData name="Daphnée Rotenbach" userId="7408d6fd-eaeb-47da-89e0-711fd1361cf1" providerId="ADAL" clId="{C9D903A4-46E6-4893-AFC2-D270D0EA1800}" dt="2021-05-10T09:22:12.575" v="925" actId="478"/>
          <ac:spMkLst>
            <pc:docMk/>
            <pc:sldMk cId="3020509222" sldId="644"/>
            <ac:spMk id="70" creationId="{BCF3941A-44F3-4AF5-994D-35A45F016F05}"/>
          </ac:spMkLst>
        </pc:spChg>
        <pc:spChg chg="mod">
          <ac:chgData name="Daphnée Rotenbach" userId="7408d6fd-eaeb-47da-89e0-711fd1361cf1" providerId="ADAL" clId="{C9D903A4-46E6-4893-AFC2-D270D0EA1800}" dt="2021-05-10T09:22:12.575" v="925" actId="478"/>
          <ac:spMkLst>
            <pc:docMk/>
            <pc:sldMk cId="3020509222" sldId="644"/>
            <ac:spMk id="71" creationId="{1A10D694-80D9-4B0B-958F-4279602F0F5D}"/>
          </ac:spMkLst>
        </pc:spChg>
        <pc:spChg chg="mod">
          <ac:chgData name="Daphnée Rotenbach" userId="7408d6fd-eaeb-47da-89e0-711fd1361cf1" providerId="ADAL" clId="{C9D903A4-46E6-4893-AFC2-D270D0EA1800}" dt="2021-05-10T09:22:12.575" v="925" actId="478"/>
          <ac:spMkLst>
            <pc:docMk/>
            <pc:sldMk cId="3020509222" sldId="644"/>
            <ac:spMk id="72" creationId="{DC59EF4E-2C7A-4BE7-B2D6-3ABC53BEF307}"/>
          </ac:spMkLst>
        </pc:spChg>
        <pc:spChg chg="mod">
          <ac:chgData name="Daphnée Rotenbach" userId="7408d6fd-eaeb-47da-89e0-711fd1361cf1" providerId="ADAL" clId="{C9D903A4-46E6-4893-AFC2-D270D0EA1800}" dt="2021-05-10T09:22:12.575" v="925" actId="478"/>
          <ac:spMkLst>
            <pc:docMk/>
            <pc:sldMk cId="3020509222" sldId="644"/>
            <ac:spMk id="73" creationId="{F611ACD7-1919-4609-9D67-26B7CAE366AC}"/>
          </ac:spMkLst>
        </pc:spChg>
        <pc:spChg chg="mod">
          <ac:chgData name="Daphnée Rotenbach" userId="7408d6fd-eaeb-47da-89e0-711fd1361cf1" providerId="ADAL" clId="{C9D903A4-46E6-4893-AFC2-D270D0EA1800}" dt="2021-05-10T09:22:12.575" v="925" actId="478"/>
          <ac:spMkLst>
            <pc:docMk/>
            <pc:sldMk cId="3020509222" sldId="644"/>
            <ac:spMk id="74" creationId="{3CABF073-C1DE-485B-92EB-11AD5E0F20F3}"/>
          </ac:spMkLst>
        </pc:spChg>
        <pc:spChg chg="mod">
          <ac:chgData name="Daphnée Rotenbach" userId="7408d6fd-eaeb-47da-89e0-711fd1361cf1" providerId="ADAL" clId="{C9D903A4-46E6-4893-AFC2-D270D0EA1800}" dt="2021-05-10T09:22:12.575" v="925" actId="478"/>
          <ac:spMkLst>
            <pc:docMk/>
            <pc:sldMk cId="3020509222" sldId="644"/>
            <ac:spMk id="75" creationId="{083F4E83-F337-46F6-923F-F1F3BF2C8504}"/>
          </ac:spMkLst>
        </pc:spChg>
        <pc:spChg chg="mod">
          <ac:chgData name="Daphnée Rotenbach" userId="7408d6fd-eaeb-47da-89e0-711fd1361cf1" providerId="ADAL" clId="{C9D903A4-46E6-4893-AFC2-D270D0EA1800}" dt="2021-05-10T09:22:12.575" v="925" actId="478"/>
          <ac:spMkLst>
            <pc:docMk/>
            <pc:sldMk cId="3020509222" sldId="644"/>
            <ac:spMk id="77" creationId="{037DE8F0-E991-495B-9A82-C79755C056EE}"/>
          </ac:spMkLst>
        </pc:spChg>
        <pc:spChg chg="mod">
          <ac:chgData name="Daphnée Rotenbach" userId="7408d6fd-eaeb-47da-89e0-711fd1361cf1" providerId="ADAL" clId="{C9D903A4-46E6-4893-AFC2-D270D0EA1800}" dt="2021-05-10T09:22:12.575" v="925" actId="478"/>
          <ac:spMkLst>
            <pc:docMk/>
            <pc:sldMk cId="3020509222" sldId="644"/>
            <ac:spMk id="79" creationId="{4B0EC676-DF05-4D34-AA1E-75A75021BD78}"/>
          </ac:spMkLst>
        </pc:spChg>
        <pc:spChg chg="del mod">
          <ac:chgData name="Daphnée Rotenbach" userId="7408d6fd-eaeb-47da-89e0-711fd1361cf1" providerId="ADAL" clId="{C9D903A4-46E6-4893-AFC2-D270D0EA1800}" dt="2021-05-10T09:22:12.575" v="925" actId="478"/>
          <ac:spMkLst>
            <pc:docMk/>
            <pc:sldMk cId="3020509222" sldId="644"/>
            <ac:spMk id="81" creationId="{C62910D8-4267-4730-A535-EDF86D038C0C}"/>
          </ac:spMkLst>
        </pc:spChg>
        <pc:spChg chg="del">
          <ac:chgData name="Daphnée Rotenbach" userId="7408d6fd-eaeb-47da-89e0-711fd1361cf1" providerId="ADAL" clId="{C9D903A4-46E6-4893-AFC2-D270D0EA1800}" dt="2021-05-10T09:08:17.513" v="828" actId="478"/>
          <ac:spMkLst>
            <pc:docMk/>
            <pc:sldMk cId="3020509222" sldId="644"/>
            <ac:spMk id="83" creationId="{CE9939EA-AB35-4FCC-B8EE-5DF5AB2F4D03}"/>
          </ac:spMkLst>
        </pc:spChg>
        <pc:spChg chg="mod">
          <ac:chgData name="Daphnée Rotenbach" userId="7408d6fd-eaeb-47da-89e0-711fd1361cf1" providerId="ADAL" clId="{C9D903A4-46E6-4893-AFC2-D270D0EA1800}" dt="2021-05-10T09:22:12.575" v="925" actId="478"/>
          <ac:spMkLst>
            <pc:docMk/>
            <pc:sldMk cId="3020509222" sldId="644"/>
            <ac:spMk id="86" creationId="{BE4FB503-494A-4098-BE34-647ACB50D334}"/>
          </ac:spMkLst>
        </pc:spChg>
        <pc:spChg chg="del">
          <ac:chgData name="Daphnée Rotenbach" userId="7408d6fd-eaeb-47da-89e0-711fd1361cf1" providerId="ADAL" clId="{C9D903A4-46E6-4893-AFC2-D270D0EA1800}" dt="2021-05-10T07:41:49.523" v="381" actId="478"/>
          <ac:spMkLst>
            <pc:docMk/>
            <pc:sldMk cId="3020509222" sldId="644"/>
            <ac:spMk id="87" creationId="{B6B7BDBA-CFA5-4E0B-B203-E9BF03261E9A}"/>
          </ac:spMkLst>
        </pc:spChg>
        <pc:spChg chg="add del mod">
          <ac:chgData name="Daphnée Rotenbach" userId="7408d6fd-eaeb-47da-89e0-711fd1361cf1" providerId="ADAL" clId="{C9D903A4-46E6-4893-AFC2-D270D0EA1800}" dt="2021-05-10T09:06:39.470" v="805" actId="478"/>
          <ac:spMkLst>
            <pc:docMk/>
            <pc:sldMk cId="3020509222" sldId="644"/>
            <ac:spMk id="88" creationId="{F78B450E-6715-44AC-8415-CC251E9E438A}"/>
          </ac:spMkLst>
        </pc:spChg>
        <pc:grpChg chg="mod">
          <ac:chgData name="Daphnée Rotenbach" userId="7408d6fd-eaeb-47da-89e0-711fd1361cf1" providerId="ADAL" clId="{C9D903A4-46E6-4893-AFC2-D270D0EA1800}" dt="2021-05-10T09:22:12.575" v="925" actId="478"/>
          <ac:grpSpMkLst>
            <pc:docMk/>
            <pc:sldMk cId="3020509222" sldId="644"/>
            <ac:grpSpMk id="41" creationId="{E0BFDEFD-577C-4D55-B3A4-AFEA023F3B92}"/>
          </ac:grpSpMkLst>
        </pc:grpChg>
        <pc:grpChg chg="del mod">
          <ac:chgData name="Daphnée Rotenbach" userId="7408d6fd-eaeb-47da-89e0-711fd1361cf1" providerId="ADAL" clId="{C9D903A4-46E6-4893-AFC2-D270D0EA1800}" dt="2021-05-10T09:17:47.364" v="878" actId="478"/>
          <ac:grpSpMkLst>
            <pc:docMk/>
            <pc:sldMk cId="3020509222" sldId="644"/>
            <ac:grpSpMk id="43" creationId="{8E9C83C3-C309-4CDD-B124-A35F81B9599A}"/>
          </ac:grpSpMkLst>
        </pc:grpChg>
        <pc:grpChg chg="del mod">
          <ac:chgData name="Daphnée Rotenbach" userId="7408d6fd-eaeb-47da-89e0-711fd1361cf1" providerId="ADAL" clId="{C9D903A4-46E6-4893-AFC2-D270D0EA1800}" dt="2021-05-10T09:08:17.513" v="828" actId="478"/>
          <ac:grpSpMkLst>
            <pc:docMk/>
            <pc:sldMk cId="3020509222" sldId="644"/>
            <ac:grpSpMk id="47" creationId="{1E878A53-A466-466B-95F0-98F07BA41C4A}"/>
          </ac:grpSpMkLst>
        </pc:grpChg>
        <pc:grpChg chg="del mod">
          <ac:chgData name="Daphnée Rotenbach" userId="7408d6fd-eaeb-47da-89e0-711fd1361cf1" providerId="ADAL" clId="{C9D903A4-46E6-4893-AFC2-D270D0EA1800}" dt="2021-05-10T09:22:12.575" v="925" actId="478"/>
          <ac:grpSpMkLst>
            <pc:docMk/>
            <pc:sldMk cId="3020509222" sldId="644"/>
            <ac:grpSpMk id="48" creationId="{0944F9EC-8DFD-4C01-A5E5-60128521F183}"/>
          </ac:grpSpMkLst>
        </pc:grpChg>
        <pc:grpChg chg="mod">
          <ac:chgData name="Daphnée Rotenbach" userId="7408d6fd-eaeb-47da-89e0-711fd1361cf1" providerId="ADAL" clId="{C9D903A4-46E6-4893-AFC2-D270D0EA1800}" dt="2021-05-10T09:22:12.575" v="925" actId="478"/>
          <ac:grpSpMkLst>
            <pc:docMk/>
            <pc:sldMk cId="3020509222" sldId="644"/>
            <ac:grpSpMk id="54" creationId="{35C62158-C827-4330-826C-5E9F4F870582}"/>
          </ac:grpSpMkLst>
        </pc:grpChg>
        <pc:grpChg chg="mod">
          <ac:chgData name="Daphnée Rotenbach" userId="7408d6fd-eaeb-47da-89e0-711fd1361cf1" providerId="ADAL" clId="{C9D903A4-46E6-4893-AFC2-D270D0EA1800}" dt="2021-05-10T09:22:12.575" v="925" actId="478"/>
          <ac:grpSpMkLst>
            <pc:docMk/>
            <pc:sldMk cId="3020509222" sldId="644"/>
            <ac:grpSpMk id="55" creationId="{83386086-4263-4122-BA5F-0859BC7AE83D}"/>
          </ac:grpSpMkLst>
        </pc:grpChg>
        <pc:grpChg chg="mod">
          <ac:chgData name="Daphnée Rotenbach" userId="7408d6fd-eaeb-47da-89e0-711fd1361cf1" providerId="ADAL" clId="{C9D903A4-46E6-4893-AFC2-D270D0EA1800}" dt="2021-05-10T09:22:12.575" v="925" actId="478"/>
          <ac:grpSpMkLst>
            <pc:docMk/>
            <pc:sldMk cId="3020509222" sldId="644"/>
            <ac:grpSpMk id="56" creationId="{A9330CC6-D7BC-4D02-9A34-3385385E2BC7}"/>
          </ac:grpSpMkLst>
        </pc:grpChg>
        <pc:grpChg chg="mod">
          <ac:chgData name="Daphnée Rotenbach" userId="7408d6fd-eaeb-47da-89e0-711fd1361cf1" providerId="ADAL" clId="{C9D903A4-46E6-4893-AFC2-D270D0EA1800}" dt="2021-05-10T09:22:12.575" v="925" actId="478"/>
          <ac:grpSpMkLst>
            <pc:docMk/>
            <pc:sldMk cId="3020509222" sldId="644"/>
            <ac:grpSpMk id="57" creationId="{0839E338-7F8F-434C-B274-C5F253F2B9F0}"/>
          </ac:grpSpMkLst>
        </pc:grpChg>
        <pc:grpChg chg="mod">
          <ac:chgData name="Daphnée Rotenbach" userId="7408d6fd-eaeb-47da-89e0-711fd1361cf1" providerId="ADAL" clId="{C9D903A4-46E6-4893-AFC2-D270D0EA1800}" dt="2021-05-10T09:22:12.575" v="925" actId="478"/>
          <ac:grpSpMkLst>
            <pc:docMk/>
            <pc:sldMk cId="3020509222" sldId="644"/>
            <ac:grpSpMk id="59" creationId="{265A7F13-6D47-4D53-8A85-6CB5EBF562DB}"/>
          </ac:grpSpMkLst>
        </pc:grpChg>
        <pc:grpChg chg="mod">
          <ac:chgData name="Daphnée Rotenbach" userId="7408d6fd-eaeb-47da-89e0-711fd1361cf1" providerId="ADAL" clId="{C9D903A4-46E6-4893-AFC2-D270D0EA1800}" dt="2021-05-10T09:22:12.575" v="925" actId="478"/>
          <ac:grpSpMkLst>
            <pc:docMk/>
            <pc:sldMk cId="3020509222" sldId="644"/>
            <ac:grpSpMk id="60" creationId="{476C6196-883D-450D-9FBA-7BF6967BC253}"/>
          </ac:grpSpMkLst>
        </pc:grpChg>
        <pc:grpChg chg="del mod">
          <ac:chgData name="Daphnée Rotenbach" userId="7408d6fd-eaeb-47da-89e0-711fd1361cf1" providerId="ADAL" clId="{C9D903A4-46E6-4893-AFC2-D270D0EA1800}" dt="2021-05-10T09:17:37.841" v="876" actId="478"/>
          <ac:grpSpMkLst>
            <pc:docMk/>
            <pc:sldMk cId="3020509222" sldId="644"/>
            <ac:grpSpMk id="61" creationId="{102004F9-7B47-4A2C-8C6F-2B5F1430CD3C}"/>
          </ac:grpSpMkLst>
        </pc:grpChg>
        <pc:grpChg chg="mod">
          <ac:chgData name="Daphnée Rotenbach" userId="7408d6fd-eaeb-47da-89e0-711fd1361cf1" providerId="ADAL" clId="{C9D903A4-46E6-4893-AFC2-D270D0EA1800}" dt="2021-05-10T09:22:12.575" v="925" actId="478"/>
          <ac:grpSpMkLst>
            <pc:docMk/>
            <pc:sldMk cId="3020509222" sldId="644"/>
            <ac:grpSpMk id="62" creationId="{FAE8E9B2-B130-47BF-A22A-33D958990101}"/>
          </ac:grpSpMkLst>
        </pc:grpChg>
        <pc:grpChg chg="mod">
          <ac:chgData name="Daphnée Rotenbach" userId="7408d6fd-eaeb-47da-89e0-711fd1361cf1" providerId="ADAL" clId="{C9D903A4-46E6-4893-AFC2-D270D0EA1800}" dt="2021-05-10T09:22:12.575" v="925" actId="478"/>
          <ac:grpSpMkLst>
            <pc:docMk/>
            <pc:sldMk cId="3020509222" sldId="644"/>
            <ac:grpSpMk id="64" creationId="{56280D31-56FC-4A52-B0BB-7F47D6FA57DB}"/>
          </ac:grpSpMkLst>
        </pc:grpChg>
        <pc:picChg chg="mod">
          <ac:chgData name="Daphnée Rotenbach" userId="7408d6fd-eaeb-47da-89e0-711fd1361cf1" providerId="ADAL" clId="{C9D903A4-46E6-4893-AFC2-D270D0EA1800}" dt="2021-05-10T09:22:12.575" v="925" actId="478"/>
          <ac:picMkLst>
            <pc:docMk/>
            <pc:sldMk cId="3020509222" sldId="644"/>
            <ac:picMk id="63" creationId="{1EAE4C60-8C5E-4FC8-A11D-5EB03F4CD210}"/>
          </ac:picMkLst>
        </pc:picChg>
        <pc:picChg chg="mod">
          <ac:chgData name="Daphnée Rotenbach" userId="7408d6fd-eaeb-47da-89e0-711fd1361cf1" providerId="ADAL" clId="{C9D903A4-46E6-4893-AFC2-D270D0EA1800}" dt="2021-05-10T09:22:12.575" v="925" actId="478"/>
          <ac:picMkLst>
            <pc:docMk/>
            <pc:sldMk cId="3020509222" sldId="644"/>
            <ac:picMk id="65" creationId="{010D422E-5325-4589-A390-E972C98E4CB1}"/>
          </ac:picMkLst>
        </pc:picChg>
        <pc:picChg chg="mod">
          <ac:chgData name="Daphnée Rotenbach" userId="7408d6fd-eaeb-47da-89e0-711fd1361cf1" providerId="ADAL" clId="{C9D903A4-46E6-4893-AFC2-D270D0EA1800}" dt="2021-05-10T09:22:12.575" v="925" actId="478"/>
          <ac:picMkLst>
            <pc:docMk/>
            <pc:sldMk cId="3020509222" sldId="644"/>
            <ac:picMk id="66" creationId="{1FB71674-3253-4149-95D7-D36A6EF54218}"/>
          </ac:picMkLst>
        </pc:picChg>
        <pc:picChg chg="mod">
          <ac:chgData name="Daphnée Rotenbach" userId="7408d6fd-eaeb-47da-89e0-711fd1361cf1" providerId="ADAL" clId="{C9D903A4-46E6-4893-AFC2-D270D0EA1800}" dt="2021-05-10T09:22:12.575" v="925" actId="478"/>
          <ac:picMkLst>
            <pc:docMk/>
            <pc:sldMk cId="3020509222" sldId="644"/>
            <ac:picMk id="76" creationId="{453B891C-4483-43B9-91DD-6E52B5F93830}"/>
          </ac:picMkLst>
        </pc:picChg>
        <pc:picChg chg="mod">
          <ac:chgData name="Daphnée Rotenbach" userId="7408d6fd-eaeb-47da-89e0-711fd1361cf1" providerId="ADAL" clId="{C9D903A4-46E6-4893-AFC2-D270D0EA1800}" dt="2021-05-10T09:22:12.575" v="925" actId="478"/>
          <ac:picMkLst>
            <pc:docMk/>
            <pc:sldMk cId="3020509222" sldId="644"/>
            <ac:picMk id="78" creationId="{126F7027-53BB-4970-A166-2B92E61437BB}"/>
          </ac:picMkLst>
        </pc:picChg>
        <pc:picChg chg="mod">
          <ac:chgData name="Daphnée Rotenbach" userId="7408d6fd-eaeb-47da-89e0-711fd1361cf1" providerId="ADAL" clId="{C9D903A4-46E6-4893-AFC2-D270D0EA1800}" dt="2021-05-10T09:22:12.575" v="925" actId="478"/>
          <ac:picMkLst>
            <pc:docMk/>
            <pc:sldMk cId="3020509222" sldId="644"/>
            <ac:picMk id="80" creationId="{0EEDA2E7-5499-40C5-BC1E-1A9E2A49EA6B}"/>
          </ac:picMkLst>
        </pc:picChg>
        <pc:picChg chg="del mod">
          <ac:chgData name="Daphnée Rotenbach" userId="7408d6fd-eaeb-47da-89e0-711fd1361cf1" providerId="ADAL" clId="{C9D903A4-46E6-4893-AFC2-D270D0EA1800}" dt="2021-05-10T09:22:14.302" v="926" actId="478"/>
          <ac:picMkLst>
            <pc:docMk/>
            <pc:sldMk cId="3020509222" sldId="644"/>
            <ac:picMk id="82" creationId="{24DABD00-CE80-44F5-8742-115FFF64B705}"/>
          </ac:picMkLst>
        </pc:picChg>
        <pc:picChg chg="del mod">
          <ac:chgData name="Daphnée Rotenbach" userId="7408d6fd-eaeb-47da-89e0-711fd1361cf1" providerId="ADAL" clId="{C9D903A4-46E6-4893-AFC2-D270D0EA1800}" dt="2021-05-10T09:08:19.501" v="829" actId="478"/>
          <ac:picMkLst>
            <pc:docMk/>
            <pc:sldMk cId="3020509222" sldId="644"/>
            <ac:picMk id="84" creationId="{5EF81ADF-6C61-4034-B055-B617B98438D8}"/>
          </ac:picMkLst>
        </pc:picChg>
        <pc:picChg chg="del mod">
          <ac:chgData name="Daphnée Rotenbach" userId="7408d6fd-eaeb-47da-89e0-711fd1361cf1" providerId="ADAL" clId="{C9D903A4-46E6-4893-AFC2-D270D0EA1800}" dt="2021-05-10T09:17:47.364" v="878" actId="478"/>
          <ac:picMkLst>
            <pc:docMk/>
            <pc:sldMk cId="3020509222" sldId="644"/>
            <ac:picMk id="85" creationId="{A2E0D328-3F9C-44AF-8CAD-7623A575E018}"/>
          </ac:picMkLst>
        </pc:picChg>
      </pc:sldChg>
      <pc:sldChg chg="addSp modSp del mod ord">
        <pc:chgData name="Daphnée Rotenbach" userId="7408d6fd-eaeb-47da-89e0-711fd1361cf1" providerId="ADAL" clId="{C9D903A4-46E6-4893-AFC2-D270D0EA1800}" dt="2021-05-10T08:00:00.185" v="453" actId="47"/>
        <pc:sldMkLst>
          <pc:docMk/>
          <pc:sldMk cId="2964169658" sldId="793"/>
        </pc:sldMkLst>
        <pc:spChg chg="add mod">
          <ac:chgData name="Daphnée Rotenbach" userId="7408d6fd-eaeb-47da-89e0-711fd1361cf1" providerId="ADAL" clId="{C9D903A4-46E6-4893-AFC2-D270D0EA1800}" dt="2021-05-05T15:08:16.339" v="45" actId="20577"/>
          <ac:spMkLst>
            <pc:docMk/>
            <pc:sldMk cId="2964169658" sldId="793"/>
            <ac:spMk id="7" creationId="{2366121D-93E3-4C13-AA5F-A9222E0453CD}"/>
          </ac:spMkLst>
        </pc:spChg>
      </pc:sldChg>
      <pc:sldChg chg="addSp modSp add del mod ord modShow">
        <pc:chgData name="Daphnée Rotenbach" userId="7408d6fd-eaeb-47da-89e0-711fd1361cf1" providerId="ADAL" clId="{C9D903A4-46E6-4893-AFC2-D270D0EA1800}" dt="2021-05-10T11:30:20.201" v="1695" actId="47"/>
        <pc:sldMkLst>
          <pc:docMk/>
          <pc:sldMk cId="1649592584" sldId="903"/>
        </pc:sldMkLst>
        <pc:spChg chg="mod">
          <ac:chgData name="Daphnée Rotenbach" userId="7408d6fd-eaeb-47da-89e0-711fd1361cf1" providerId="ADAL" clId="{C9D903A4-46E6-4893-AFC2-D270D0EA1800}" dt="2021-05-05T15:05:46.631" v="4" actId="1076"/>
          <ac:spMkLst>
            <pc:docMk/>
            <pc:sldMk cId="1649592584" sldId="903"/>
            <ac:spMk id="2" creationId="{A1A656EF-0E48-0E40-A8F5-E758C08F7F46}"/>
          </ac:spMkLst>
        </pc:spChg>
        <pc:spChg chg="mod">
          <ac:chgData name="Daphnée Rotenbach" userId="7408d6fd-eaeb-47da-89e0-711fd1361cf1" providerId="ADAL" clId="{C9D903A4-46E6-4893-AFC2-D270D0EA1800}" dt="2021-05-05T15:05:51.389" v="5" actId="1076"/>
          <ac:spMkLst>
            <pc:docMk/>
            <pc:sldMk cId="1649592584" sldId="903"/>
            <ac:spMk id="3" creationId="{E9B10BA1-134D-C444-B27A-56A317DE8881}"/>
          </ac:spMkLst>
        </pc:spChg>
        <pc:spChg chg="mod">
          <ac:chgData name="Daphnée Rotenbach" userId="7408d6fd-eaeb-47da-89e0-711fd1361cf1" providerId="ADAL" clId="{C9D903A4-46E6-4893-AFC2-D270D0EA1800}" dt="2021-05-05T15:05:51.389" v="5" actId="1076"/>
          <ac:spMkLst>
            <pc:docMk/>
            <pc:sldMk cId="1649592584" sldId="903"/>
            <ac:spMk id="4" creationId="{083E0561-D57C-B64B-80E2-240DB05DFF77}"/>
          </ac:spMkLst>
        </pc:spChg>
        <pc:spChg chg="mod">
          <ac:chgData name="Daphnée Rotenbach" userId="7408d6fd-eaeb-47da-89e0-711fd1361cf1" providerId="ADAL" clId="{C9D903A4-46E6-4893-AFC2-D270D0EA1800}" dt="2021-05-05T15:05:53.217" v="6" actId="1076"/>
          <ac:spMkLst>
            <pc:docMk/>
            <pc:sldMk cId="1649592584" sldId="903"/>
            <ac:spMk id="5" creationId="{917C5E76-3264-4E65-9380-09B81817E32A}"/>
          </ac:spMkLst>
        </pc:spChg>
        <pc:spChg chg="add mod">
          <ac:chgData name="Daphnée Rotenbach" userId="7408d6fd-eaeb-47da-89e0-711fd1361cf1" providerId="ADAL" clId="{C9D903A4-46E6-4893-AFC2-D270D0EA1800}" dt="2021-05-05T15:06:04.222" v="8" actId="1076"/>
          <ac:spMkLst>
            <pc:docMk/>
            <pc:sldMk cId="1649592584" sldId="903"/>
            <ac:spMk id="6" creationId="{F12DB996-FAE6-4037-B938-B615FA471E0F}"/>
          </ac:spMkLst>
        </pc:spChg>
        <pc:spChg chg="add mod">
          <ac:chgData name="Daphnée Rotenbach" userId="7408d6fd-eaeb-47da-89e0-711fd1361cf1" providerId="ADAL" clId="{C9D903A4-46E6-4893-AFC2-D270D0EA1800}" dt="2021-05-05T15:06:11.602" v="10" actId="1076"/>
          <ac:spMkLst>
            <pc:docMk/>
            <pc:sldMk cId="1649592584" sldId="903"/>
            <ac:spMk id="7" creationId="{1FBA34CB-9FFA-42AF-8996-1DCC7864CEF0}"/>
          </ac:spMkLst>
        </pc:spChg>
        <pc:spChg chg="add mod">
          <ac:chgData name="Daphnée Rotenbach" userId="7408d6fd-eaeb-47da-89e0-711fd1361cf1" providerId="ADAL" clId="{C9D903A4-46E6-4893-AFC2-D270D0EA1800}" dt="2021-05-05T15:06:11.602" v="10" actId="1076"/>
          <ac:spMkLst>
            <pc:docMk/>
            <pc:sldMk cId="1649592584" sldId="903"/>
            <ac:spMk id="8" creationId="{5C03D966-5999-4D68-AD21-7F898428257C}"/>
          </ac:spMkLst>
        </pc:spChg>
      </pc:sldChg>
      <pc:sldChg chg="del">
        <pc:chgData name="Daphnée Rotenbach" userId="7408d6fd-eaeb-47da-89e0-711fd1361cf1" providerId="ADAL" clId="{C9D903A4-46E6-4893-AFC2-D270D0EA1800}" dt="2021-05-05T15:06:13.755" v="11" actId="47"/>
        <pc:sldMkLst>
          <pc:docMk/>
          <pc:sldMk cId="2036518031" sldId="904"/>
        </pc:sldMkLst>
      </pc:sldChg>
      <pc:sldChg chg="addSp delSp modSp del mod ord modShow">
        <pc:chgData name="Daphnée Rotenbach" userId="7408d6fd-eaeb-47da-89e0-711fd1361cf1" providerId="ADAL" clId="{C9D903A4-46E6-4893-AFC2-D270D0EA1800}" dt="2021-05-10T11:30:20.456" v="1696" actId="47"/>
        <pc:sldMkLst>
          <pc:docMk/>
          <pc:sldMk cId="675096954" sldId="905"/>
        </pc:sldMkLst>
        <pc:spChg chg="mod">
          <ac:chgData name="Daphnée Rotenbach" userId="7408d6fd-eaeb-47da-89e0-711fd1361cf1" providerId="ADAL" clId="{C9D903A4-46E6-4893-AFC2-D270D0EA1800}" dt="2021-05-05T15:06:26.409" v="13" actId="1076"/>
          <ac:spMkLst>
            <pc:docMk/>
            <pc:sldMk cId="675096954" sldId="905"/>
            <ac:spMk id="2" creationId="{F760BC20-255D-DC48-9EBC-BE1FC12722C3}"/>
          </ac:spMkLst>
        </pc:spChg>
        <pc:spChg chg="mod">
          <ac:chgData name="Daphnée Rotenbach" userId="7408d6fd-eaeb-47da-89e0-711fd1361cf1" providerId="ADAL" clId="{C9D903A4-46E6-4893-AFC2-D270D0EA1800}" dt="2021-05-05T15:06:42.449" v="19" actId="1076"/>
          <ac:spMkLst>
            <pc:docMk/>
            <pc:sldMk cId="675096954" sldId="905"/>
            <ac:spMk id="3" creationId="{A492D04C-6312-D642-A0F8-5A0ACE38A0B1}"/>
          </ac:spMkLst>
        </pc:spChg>
        <pc:spChg chg="mod">
          <ac:chgData name="Daphnée Rotenbach" userId="7408d6fd-eaeb-47da-89e0-711fd1361cf1" providerId="ADAL" clId="{C9D903A4-46E6-4893-AFC2-D270D0EA1800}" dt="2021-05-05T15:06:38.905" v="18" actId="1076"/>
          <ac:spMkLst>
            <pc:docMk/>
            <pc:sldMk cId="675096954" sldId="905"/>
            <ac:spMk id="4" creationId="{4FF726DE-616D-AD46-9003-27C06D712E61}"/>
          </ac:spMkLst>
        </pc:spChg>
        <pc:spChg chg="del">
          <ac:chgData name="Daphnée Rotenbach" userId="7408d6fd-eaeb-47da-89e0-711fd1361cf1" providerId="ADAL" clId="{C9D903A4-46E6-4893-AFC2-D270D0EA1800}" dt="2021-05-05T15:06:27.905" v="14" actId="478"/>
          <ac:spMkLst>
            <pc:docMk/>
            <pc:sldMk cId="675096954" sldId="905"/>
            <ac:spMk id="9" creationId="{85B4850C-AF13-0841-A6FA-6E2A7C2D4254}"/>
          </ac:spMkLst>
        </pc:spChg>
        <pc:spChg chg="del">
          <ac:chgData name="Daphnée Rotenbach" userId="7408d6fd-eaeb-47da-89e0-711fd1361cf1" providerId="ADAL" clId="{C9D903A4-46E6-4893-AFC2-D270D0EA1800}" dt="2021-05-05T15:06:22.246" v="12" actId="478"/>
          <ac:spMkLst>
            <pc:docMk/>
            <pc:sldMk cId="675096954" sldId="905"/>
            <ac:spMk id="10" creationId="{859A51D4-279C-492E-A9EE-42B70F50D07A}"/>
          </ac:spMkLst>
        </pc:spChg>
        <pc:spChg chg="add mod">
          <ac:chgData name="Daphnée Rotenbach" userId="7408d6fd-eaeb-47da-89e0-711fd1361cf1" providerId="ADAL" clId="{C9D903A4-46E6-4893-AFC2-D270D0EA1800}" dt="2021-05-05T15:06:49.615" v="21" actId="1076"/>
          <ac:spMkLst>
            <pc:docMk/>
            <pc:sldMk cId="675096954" sldId="905"/>
            <ac:spMk id="11" creationId="{2D6250FE-141D-43D8-8D79-7802D70C246C}"/>
          </ac:spMkLst>
        </pc:spChg>
        <pc:spChg chg="add mod">
          <ac:chgData name="Daphnée Rotenbach" userId="7408d6fd-eaeb-47da-89e0-711fd1361cf1" providerId="ADAL" clId="{C9D903A4-46E6-4893-AFC2-D270D0EA1800}" dt="2021-05-05T15:06:57.149" v="23" actId="1076"/>
          <ac:spMkLst>
            <pc:docMk/>
            <pc:sldMk cId="675096954" sldId="905"/>
            <ac:spMk id="12" creationId="{A1E56141-DD0A-4009-9E4D-175F110F0F5F}"/>
          </ac:spMkLst>
        </pc:spChg>
        <pc:cxnChg chg="del">
          <ac:chgData name="Daphnée Rotenbach" userId="7408d6fd-eaeb-47da-89e0-711fd1361cf1" providerId="ADAL" clId="{C9D903A4-46E6-4893-AFC2-D270D0EA1800}" dt="2021-05-05T15:06:29.821" v="15" actId="478"/>
          <ac:cxnSpMkLst>
            <pc:docMk/>
            <pc:sldMk cId="675096954" sldId="905"/>
            <ac:cxnSpMk id="7" creationId="{5E51569F-3878-1346-9ED6-5540328B9FA0}"/>
          </ac:cxnSpMkLst>
        </pc:cxnChg>
        <pc:cxnChg chg="del">
          <ac:chgData name="Daphnée Rotenbach" userId="7408d6fd-eaeb-47da-89e0-711fd1361cf1" providerId="ADAL" clId="{C9D903A4-46E6-4893-AFC2-D270D0EA1800}" dt="2021-05-05T15:06:31.175" v="16" actId="478"/>
          <ac:cxnSpMkLst>
            <pc:docMk/>
            <pc:sldMk cId="675096954" sldId="905"/>
            <ac:cxnSpMk id="8" creationId="{9D2B590F-BC11-1E43-B666-C0A7E60724FE}"/>
          </ac:cxnSpMkLst>
        </pc:cxnChg>
      </pc:sldChg>
      <pc:sldChg chg="del">
        <pc:chgData name="Daphnée Rotenbach" userId="7408d6fd-eaeb-47da-89e0-711fd1361cf1" providerId="ADAL" clId="{C9D903A4-46E6-4893-AFC2-D270D0EA1800}" dt="2021-05-05T15:06:59.450" v="24" actId="47"/>
        <pc:sldMkLst>
          <pc:docMk/>
          <pc:sldMk cId="2653969320" sldId="906"/>
        </pc:sldMkLst>
      </pc:sldChg>
      <pc:sldChg chg="addSp delSp modSp mod ord">
        <pc:chgData name="Daphnée Rotenbach" userId="7408d6fd-eaeb-47da-89e0-711fd1361cf1" providerId="ADAL" clId="{C9D903A4-46E6-4893-AFC2-D270D0EA1800}" dt="2021-05-10T14:41:28.099" v="2794" actId="1076"/>
        <pc:sldMkLst>
          <pc:docMk/>
          <pc:sldMk cId="880977745" sldId="1096"/>
        </pc:sldMkLst>
        <pc:spChg chg="add mod">
          <ac:chgData name="Daphnée Rotenbach" userId="7408d6fd-eaeb-47da-89e0-711fd1361cf1" providerId="ADAL" clId="{C9D903A4-46E6-4893-AFC2-D270D0EA1800}" dt="2021-05-10T10:35:44.984" v="1378" actId="693"/>
          <ac:spMkLst>
            <pc:docMk/>
            <pc:sldMk cId="880977745" sldId="1096"/>
            <ac:spMk id="2" creationId="{C4AD82F6-5BF9-484F-9BBC-23FAE66F6D07}"/>
          </ac:spMkLst>
        </pc:spChg>
        <pc:spChg chg="add mod">
          <ac:chgData name="Daphnée Rotenbach" userId="7408d6fd-eaeb-47da-89e0-711fd1361cf1" providerId="ADAL" clId="{C9D903A4-46E6-4893-AFC2-D270D0EA1800}" dt="2021-05-10T10:35:40.542" v="1377" actId="693"/>
          <ac:spMkLst>
            <pc:docMk/>
            <pc:sldMk cId="880977745" sldId="1096"/>
            <ac:spMk id="3" creationId="{79373459-869C-4318-94FF-66FDD53A2186}"/>
          </ac:spMkLst>
        </pc:spChg>
        <pc:spChg chg="add mod">
          <ac:chgData name="Daphnée Rotenbach" userId="7408d6fd-eaeb-47da-89e0-711fd1361cf1" providerId="ADAL" clId="{C9D903A4-46E6-4893-AFC2-D270D0EA1800}" dt="2021-05-10T14:41:25.416" v="2793" actId="1036"/>
          <ac:spMkLst>
            <pc:docMk/>
            <pc:sldMk cId="880977745" sldId="1096"/>
            <ac:spMk id="4" creationId="{17C39CA3-8745-4641-908D-0D9D58D94938}"/>
          </ac:spMkLst>
        </pc:spChg>
        <pc:spChg chg="add mod">
          <ac:chgData name="Daphnée Rotenbach" userId="7408d6fd-eaeb-47da-89e0-711fd1361cf1" providerId="ADAL" clId="{C9D903A4-46E6-4893-AFC2-D270D0EA1800}" dt="2021-05-10T14:41:28.099" v="2794" actId="1076"/>
          <ac:spMkLst>
            <pc:docMk/>
            <pc:sldMk cId="880977745" sldId="1096"/>
            <ac:spMk id="6" creationId="{9FFA3C64-CAD0-48A0-9FA5-B961A2F75C98}"/>
          </ac:spMkLst>
        </pc:spChg>
        <pc:spChg chg="add mod">
          <ac:chgData name="Daphnée Rotenbach" userId="7408d6fd-eaeb-47da-89e0-711fd1361cf1" providerId="ADAL" clId="{C9D903A4-46E6-4893-AFC2-D270D0EA1800}" dt="2021-05-10T10:35:17.376" v="1371" actId="693"/>
          <ac:spMkLst>
            <pc:docMk/>
            <pc:sldMk cId="880977745" sldId="1096"/>
            <ac:spMk id="9" creationId="{E31AA53C-A1D7-44CA-BECA-14815FE48AA3}"/>
          </ac:spMkLst>
        </pc:spChg>
        <pc:spChg chg="add mod">
          <ac:chgData name="Daphnée Rotenbach" userId="7408d6fd-eaeb-47da-89e0-711fd1361cf1" providerId="ADAL" clId="{C9D903A4-46E6-4893-AFC2-D270D0EA1800}" dt="2021-05-10T10:35:16.728" v="1369" actId="693"/>
          <ac:spMkLst>
            <pc:docMk/>
            <pc:sldMk cId="880977745" sldId="1096"/>
            <ac:spMk id="10" creationId="{9B3EECAA-0739-466D-AB93-1852EAEF01A4}"/>
          </ac:spMkLst>
        </pc:spChg>
        <pc:spChg chg="add mod">
          <ac:chgData name="Daphnée Rotenbach" userId="7408d6fd-eaeb-47da-89e0-711fd1361cf1" providerId="ADAL" clId="{C9D903A4-46E6-4893-AFC2-D270D0EA1800}" dt="2021-05-10T10:35:17.123" v="1370" actId="693"/>
          <ac:spMkLst>
            <pc:docMk/>
            <pc:sldMk cId="880977745" sldId="1096"/>
            <ac:spMk id="11" creationId="{4CA94744-0C7A-434F-B924-6AF5DB967A6D}"/>
          </ac:spMkLst>
        </pc:spChg>
        <pc:spChg chg="add del mod">
          <ac:chgData name="Daphnée Rotenbach" userId="7408d6fd-eaeb-47da-89e0-711fd1361cf1" providerId="ADAL" clId="{C9D903A4-46E6-4893-AFC2-D270D0EA1800}" dt="2021-05-10T09:19:03.026" v="892" actId="478"/>
          <ac:spMkLst>
            <pc:docMk/>
            <pc:sldMk cId="880977745" sldId="1096"/>
            <ac:spMk id="12" creationId="{58B5E35C-75D2-46B9-9CDB-4AE9ECC38349}"/>
          </ac:spMkLst>
        </pc:spChg>
        <pc:spChg chg="mod">
          <ac:chgData name="Daphnée Rotenbach" userId="7408d6fd-eaeb-47da-89e0-711fd1361cf1" providerId="ADAL" clId="{C9D903A4-46E6-4893-AFC2-D270D0EA1800}" dt="2021-05-10T09:32:50.320" v="1094" actId="1036"/>
          <ac:spMkLst>
            <pc:docMk/>
            <pc:sldMk cId="880977745" sldId="1096"/>
            <ac:spMk id="15" creationId="{CBCB4A64-7D74-4A66-A44F-1E280B2BE44A}"/>
          </ac:spMkLst>
        </pc:spChg>
        <pc:spChg chg="mod">
          <ac:chgData name="Daphnée Rotenbach" userId="7408d6fd-eaeb-47da-89e0-711fd1361cf1" providerId="ADAL" clId="{C9D903A4-46E6-4893-AFC2-D270D0EA1800}" dt="2021-05-10T10:35:17.695" v="1372" actId="693"/>
          <ac:spMkLst>
            <pc:docMk/>
            <pc:sldMk cId="880977745" sldId="1096"/>
            <ac:spMk id="69" creationId="{B209F01D-C37D-4F65-9640-E5C931FAB332}"/>
          </ac:spMkLst>
        </pc:spChg>
        <pc:graphicFrameChg chg="del">
          <ac:chgData name="Daphnée Rotenbach" userId="7408d6fd-eaeb-47da-89e0-711fd1361cf1" providerId="ADAL" clId="{C9D903A4-46E6-4893-AFC2-D270D0EA1800}" dt="2021-05-10T09:18:16.037" v="880" actId="478"/>
          <ac:graphicFrameMkLst>
            <pc:docMk/>
            <pc:sldMk cId="880977745" sldId="1096"/>
            <ac:graphicFrameMk id="68" creationId="{FF2BB78B-91CB-41A7-BBE6-C877E7A31F61}"/>
          </ac:graphicFrameMkLst>
        </pc:graphicFrameChg>
        <pc:picChg chg="mod">
          <ac:chgData name="Daphnée Rotenbach" userId="7408d6fd-eaeb-47da-89e0-711fd1361cf1" providerId="ADAL" clId="{C9D903A4-46E6-4893-AFC2-D270D0EA1800}" dt="2021-05-10T09:32:54.806" v="1103" actId="1035"/>
          <ac:picMkLst>
            <pc:docMk/>
            <pc:sldMk cId="880977745" sldId="1096"/>
            <ac:picMk id="65" creationId="{E6383847-4BFA-4DBA-AAFC-C339B6ECA128}"/>
          </ac:picMkLst>
        </pc:picChg>
      </pc:sldChg>
      <pc:sldChg chg="add">
        <pc:chgData name="Daphnée Rotenbach" userId="7408d6fd-eaeb-47da-89e0-711fd1361cf1" providerId="ADAL" clId="{C9D903A4-46E6-4893-AFC2-D270D0EA1800}" dt="2021-05-10T14:54:59.573" v="2972"/>
        <pc:sldMkLst>
          <pc:docMk/>
          <pc:sldMk cId="10525138" sldId="1116"/>
        </pc:sldMkLst>
      </pc:sldChg>
      <pc:sldChg chg="addSp delSp modSp mod">
        <pc:chgData name="Daphnée Rotenbach" userId="7408d6fd-eaeb-47da-89e0-711fd1361cf1" providerId="ADAL" clId="{C9D903A4-46E6-4893-AFC2-D270D0EA1800}" dt="2021-05-10T14:40:03.985" v="2784" actId="207"/>
        <pc:sldMkLst>
          <pc:docMk/>
          <pc:sldMk cId="4011173525" sldId="1125"/>
        </pc:sldMkLst>
        <pc:spChg chg="del mod">
          <ac:chgData name="Daphnée Rotenbach" userId="7408d6fd-eaeb-47da-89e0-711fd1361cf1" providerId="ADAL" clId="{C9D903A4-46E6-4893-AFC2-D270D0EA1800}" dt="2021-05-07T15:08:18.312" v="257" actId="478"/>
          <ac:spMkLst>
            <pc:docMk/>
            <pc:sldMk cId="4011173525" sldId="1125"/>
            <ac:spMk id="4" creationId="{44308A8F-2BAE-498A-A0CC-950034010BD2}"/>
          </ac:spMkLst>
        </pc:spChg>
        <pc:spChg chg="add mod">
          <ac:chgData name="Daphnée Rotenbach" userId="7408d6fd-eaeb-47da-89e0-711fd1361cf1" providerId="ADAL" clId="{C9D903A4-46E6-4893-AFC2-D270D0EA1800}" dt="2021-05-10T07:39:25.897" v="371" actId="1076"/>
          <ac:spMkLst>
            <pc:docMk/>
            <pc:sldMk cId="4011173525" sldId="1125"/>
            <ac:spMk id="7" creationId="{AF9D869E-BDBD-4361-B03D-D09A2087DE49}"/>
          </ac:spMkLst>
        </pc:spChg>
        <pc:spChg chg="add mod">
          <ac:chgData name="Daphnée Rotenbach" userId="7408d6fd-eaeb-47da-89e0-711fd1361cf1" providerId="ADAL" clId="{C9D903A4-46E6-4893-AFC2-D270D0EA1800}" dt="2021-05-10T07:40:11.554" v="379" actId="14100"/>
          <ac:spMkLst>
            <pc:docMk/>
            <pc:sldMk cId="4011173525" sldId="1125"/>
            <ac:spMk id="8" creationId="{CC529C64-3ADF-4011-B1B7-0D363AA8B4B9}"/>
          </ac:spMkLst>
        </pc:spChg>
        <pc:spChg chg="del">
          <ac:chgData name="Daphnée Rotenbach" userId="7408d6fd-eaeb-47da-89e0-711fd1361cf1" providerId="ADAL" clId="{C9D903A4-46E6-4893-AFC2-D270D0EA1800}" dt="2021-05-10T10:31:26.304" v="1355" actId="478"/>
          <ac:spMkLst>
            <pc:docMk/>
            <pc:sldMk cId="4011173525" sldId="1125"/>
            <ac:spMk id="9" creationId="{CBE0BBB4-138E-4957-86BF-284B5AAEEE41}"/>
          </ac:spMkLst>
        </pc:spChg>
        <pc:spChg chg="del mod">
          <ac:chgData name="Daphnée Rotenbach" userId="7408d6fd-eaeb-47da-89e0-711fd1361cf1" providerId="ADAL" clId="{C9D903A4-46E6-4893-AFC2-D270D0EA1800}" dt="2021-05-07T15:08:18.312" v="257" actId="478"/>
          <ac:spMkLst>
            <pc:docMk/>
            <pc:sldMk cId="4011173525" sldId="1125"/>
            <ac:spMk id="11" creationId="{15809935-B924-48FD-9E2C-07AA42EB1A05}"/>
          </ac:spMkLst>
        </pc:spChg>
        <pc:spChg chg="add mod">
          <ac:chgData name="Daphnée Rotenbach" userId="7408d6fd-eaeb-47da-89e0-711fd1361cf1" providerId="ADAL" clId="{C9D903A4-46E6-4893-AFC2-D270D0EA1800}" dt="2021-05-10T07:39:30.589" v="372" actId="1076"/>
          <ac:spMkLst>
            <pc:docMk/>
            <pc:sldMk cId="4011173525" sldId="1125"/>
            <ac:spMk id="11" creationId="{B6705EE5-A40F-4328-B581-38E6AB285B51}"/>
          </ac:spMkLst>
        </pc:spChg>
        <pc:spChg chg="add mod">
          <ac:chgData name="Daphnée Rotenbach" userId="7408d6fd-eaeb-47da-89e0-711fd1361cf1" providerId="ADAL" clId="{C9D903A4-46E6-4893-AFC2-D270D0EA1800}" dt="2021-05-10T07:40:35.222" v="380" actId="14100"/>
          <ac:spMkLst>
            <pc:docMk/>
            <pc:sldMk cId="4011173525" sldId="1125"/>
            <ac:spMk id="12" creationId="{93C18B50-2660-47F5-82F0-E64D62EE7BC9}"/>
          </ac:spMkLst>
        </pc:spChg>
        <pc:spChg chg="del mod">
          <ac:chgData name="Daphnée Rotenbach" userId="7408d6fd-eaeb-47da-89e0-711fd1361cf1" providerId="ADAL" clId="{C9D903A4-46E6-4893-AFC2-D270D0EA1800}" dt="2021-05-07T15:06:52.069" v="252" actId="478"/>
          <ac:spMkLst>
            <pc:docMk/>
            <pc:sldMk cId="4011173525" sldId="1125"/>
            <ac:spMk id="12" creationId="{EA921A8A-B4C3-470B-94E3-8C4DF23D793F}"/>
          </ac:spMkLst>
        </pc:spChg>
        <pc:spChg chg="del">
          <ac:chgData name="Daphnée Rotenbach" userId="7408d6fd-eaeb-47da-89e0-711fd1361cf1" providerId="ADAL" clId="{C9D903A4-46E6-4893-AFC2-D270D0EA1800}" dt="2021-05-07T15:06:52.069" v="252" actId="478"/>
          <ac:spMkLst>
            <pc:docMk/>
            <pc:sldMk cId="4011173525" sldId="1125"/>
            <ac:spMk id="13" creationId="{87756EEA-DD99-44BC-B094-065F15D8EDE3}"/>
          </ac:spMkLst>
        </pc:spChg>
        <pc:spChg chg="add mod">
          <ac:chgData name="Daphnée Rotenbach" userId="7408d6fd-eaeb-47da-89e0-711fd1361cf1" providerId="ADAL" clId="{C9D903A4-46E6-4893-AFC2-D270D0EA1800}" dt="2021-05-10T10:31:28.202" v="1357"/>
          <ac:spMkLst>
            <pc:docMk/>
            <pc:sldMk cId="4011173525" sldId="1125"/>
            <ac:spMk id="13" creationId="{A3B8F510-35DA-4B02-9898-1414419EE2FE}"/>
          </ac:spMkLst>
        </pc:spChg>
        <pc:spChg chg="del mod">
          <ac:chgData name="Daphnée Rotenbach" userId="7408d6fd-eaeb-47da-89e0-711fd1361cf1" providerId="ADAL" clId="{C9D903A4-46E6-4893-AFC2-D270D0EA1800}" dt="2021-05-07T15:06:54.444" v="253" actId="478"/>
          <ac:spMkLst>
            <pc:docMk/>
            <pc:sldMk cId="4011173525" sldId="1125"/>
            <ac:spMk id="14" creationId="{2827DDF1-DCD3-4D31-B2B4-F65DA01245D8}"/>
          </ac:spMkLst>
        </pc:spChg>
        <pc:spChg chg="del">
          <ac:chgData name="Daphnée Rotenbach" userId="7408d6fd-eaeb-47da-89e0-711fd1361cf1" providerId="ADAL" clId="{C9D903A4-46E6-4893-AFC2-D270D0EA1800}" dt="2021-05-07T15:06:52.069" v="252" actId="478"/>
          <ac:spMkLst>
            <pc:docMk/>
            <pc:sldMk cId="4011173525" sldId="1125"/>
            <ac:spMk id="15" creationId="{55D24B24-112A-49B6-8443-7850B6934558}"/>
          </ac:spMkLst>
        </pc:spChg>
        <pc:spChg chg="add del mod">
          <ac:chgData name="Daphnée Rotenbach" userId="7408d6fd-eaeb-47da-89e0-711fd1361cf1" providerId="ADAL" clId="{C9D903A4-46E6-4893-AFC2-D270D0EA1800}" dt="2021-05-07T15:02:41.446" v="243" actId="478"/>
          <ac:spMkLst>
            <pc:docMk/>
            <pc:sldMk cId="4011173525" sldId="1125"/>
            <ac:spMk id="17" creationId="{0B45B1D3-C661-4F0B-8C1E-E48314CEB1F4}"/>
          </ac:spMkLst>
        </pc:spChg>
        <pc:spChg chg="add mod">
          <ac:chgData name="Daphnée Rotenbach" userId="7408d6fd-eaeb-47da-89e0-711fd1361cf1" providerId="ADAL" clId="{C9D903A4-46E6-4893-AFC2-D270D0EA1800}" dt="2021-05-10T14:32:06.561" v="2770" actId="20577"/>
          <ac:spMkLst>
            <pc:docMk/>
            <pc:sldMk cId="4011173525" sldId="1125"/>
            <ac:spMk id="18" creationId="{DDB094AE-0E70-41C8-B6AF-ABF0C1DA316C}"/>
          </ac:spMkLst>
        </pc:spChg>
        <pc:spChg chg="add del mod">
          <ac:chgData name="Daphnée Rotenbach" userId="7408d6fd-eaeb-47da-89e0-711fd1361cf1" providerId="ADAL" clId="{C9D903A4-46E6-4893-AFC2-D270D0EA1800}" dt="2021-05-07T15:14:45.308" v="306" actId="478"/>
          <ac:spMkLst>
            <pc:docMk/>
            <pc:sldMk cId="4011173525" sldId="1125"/>
            <ac:spMk id="19" creationId="{CFD494A2-7E97-4E6F-96C1-6C214C896A36}"/>
          </ac:spMkLst>
        </pc:spChg>
        <pc:spChg chg="add mod">
          <ac:chgData name="Daphnée Rotenbach" userId="7408d6fd-eaeb-47da-89e0-711fd1361cf1" providerId="ADAL" clId="{C9D903A4-46E6-4893-AFC2-D270D0EA1800}" dt="2021-05-10T14:40:03.985" v="2784" actId="207"/>
          <ac:spMkLst>
            <pc:docMk/>
            <pc:sldMk cId="4011173525" sldId="1125"/>
            <ac:spMk id="20" creationId="{3ECE2A1D-90A1-48FF-90A5-54905DE9627A}"/>
          </ac:spMkLst>
        </pc:spChg>
        <pc:graphicFrameChg chg="add del mod modGraphic">
          <ac:chgData name="Daphnée Rotenbach" userId="7408d6fd-eaeb-47da-89e0-711fd1361cf1" providerId="ADAL" clId="{C9D903A4-46E6-4893-AFC2-D270D0EA1800}" dt="2021-05-07T15:09:44.727" v="271" actId="478"/>
          <ac:graphicFrameMkLst>
            <pc:docMk/>
            <pc:sldMk cId="4011173525" sldId="1125"/>
            <ac:graphicFrameMk id="2" creationId="{C57B767D-B2EA-4031-9375-5E0787E2F2E4}"/>
          </ac:graphicFrameMkLst>
        </pc:graphicFrameChg>
        <pc:picChg chg="del">
          <ac:chgData name="Daphnée Rotenbach" userId="7408d6fd-eaeb-47da-89e0-711fd1361cf1" providerId="ADAL" clId="{C9D903A4-46E6-4893-AFC2-D270D0EA1800}" dt="2021-05-10T10:31:27.855" v="1356" actId="478"/>
          <ac:picMkLst>
            <pc:docMk/>
            <pc:sldMk cId="4011173525" sldId="1125"/>
            <ac:picMk id="10" creationId="{FA8269E7-E4A1-4DFE-850F-63C75FBE74AA}"/>
          </ac:picMkLst>
        </pc:picChg>
        <pc:picChg chg="add mod">
          <ac:chgData name="Daphnée Rotenbach" userId="7408d6fd-eaeb-47da-89e0-711fd1361cf1" providerId="ADAL" clId="{C9D903A4-46E6-4893-AFC2-D270D0EA1800}" dt="2021-05-10T10:31:39.547" v="1358"/>
          <ac:picMkLst>
            <pc:docMk/>
            <pc:sldMk cId="4011173525" sldId="1125"/>
            <ac:picMk id="14" creationId="{F2BAFE51-B6B5-4987-AC74-509DBC0155DD}"/>
          </ac:picMkLst>
        </pc:picChg>
      </pc:sldChg>
      <pc:sldChg chg="modSp mod ord">
        <pc:chgData name="Daphnée Rotenbach" userId="7408d6fd-eaeb-47da-89e0-711fd1361cf1" providerId="ADAL" clId="{C9D903A4-46E6-4893-AFC2-D270D0EA1800}" dt="2021-05-10T11:22:10.678" v="1597"/>
        <pc:sldMkLst>
          <pc:docMk/>
          <pc:sldMk cId="4213923831" sldId="1127"/>
        </pc:sldMkLst>
        <pc:spChg chg="mod">
          <ac:chgData name="Daphnée Rotenbach" userId="7408d6fd-eaeb-47da-89e0-711fd1361cf1" providerId="ADAL" clId="{C9D903A4-46E6-4893-AFC2-D270D0EA1800}" dt="2021-05-07T15:00:38.858" v="235" actId="1035"/>
          <ac:spMkLst>
            <pc:docMk/>
            <pc:sldMk cId="4213923831" sldId="1127"/>
            <ac:spMk id="41" creationId="{612D4A72-B865-40D6-A6B3-838FD59C3C0C}"/>
          </ac:spMkLst>
        </pc:spChg>
        <pc:spChg chg="mod">
          <ac:chgData name="Daphnée Rotenbach" userId="7408d6fd-eaeb-47da-89e0-711fd1361cf1" providerId="ADAL" clId="{C9D903A4-46E6-4893-AFC2-D270D0EA1800}" dt="2021-05-10T09:39:00.400" v="1148" actId="20577"/>
          <ac:spMkLst>
            <pc:docMk/>
            <pc:sldMk cId="4213923831" sldId="1127"/>
            <ac:spMk id="61" creationId="{F0818A78-704D-41C5-AB7E-030D8341A8C6}"/>
          </ac:spMkLst>
        </pc:spChg>
        <pc:spChg chg="mod">
          <ac:chgData name="Daphnée Rotenbach" userId="7408d6fd-eaeb-47da-89e0-711fd1361cf1" providerId="ADAL" clId="{C9D903A4-46E6-4893-AFC2-D270D0EA1800}" dt="2021-05-10T10:37:06.097" v="1401" actId="1037"/>
          <ac:spMkLst>
            <pc:docMk/>
            <pc:sldMk cId="4213923831" sldId="1127"/>
            <ac:spMk id="68" creationId="{82565B00-3DF5-486F-8B04-1AF5D4B0E87B}"/>
          </ac:spMkLst>
        </pc:spChg>
        <pc:spChg chg="mod">
          <ac:chgData name="Daphnée Rotenbach" userId="7408d6fd-eaeb-47da-89e0-711fd1361cf1" providerId="ADAL" clId="{C9D903A4-46E6-4893-AFC2-D270D0EA1800}" dt="2021-05-10T10:37:15.679" v="1411" actId="1038"/>
          <ac:spMkLst>
            <pc:docMk/>
            <pc:sldMk cId="4213923831" sldId="1127"/>
            <ac:spMk id="70" creationId="{97438273-D7E9-452D-9460-1097F84539EA}"/>
          </ac:spMkLst>
        </pc:spChg>
        <pc:cxnChg chg="mod">
          <ac:chgData name="Daphnée Rotenbach" userId="7408d6fd-eaeb-47da-89e0-711fd1361cf1" providerId="ADAL" clId="{C9D903A4-46E6-4893-AFC2-D270D0EA1800}" dt="2021-05-10T10:36:59.632" v="1395" actId="1038"/>
          <ac:cxnSpMkLst>
            <pc:docMk/>
            <pc:sldMk cId="4213923831" sldId="1127"/>
            <ac:cxnSpMk id="35" creationId="{4746FDD8-D734-4070-B25D-217149906B5C}"/>
          </ac:cxnSpMkLst>
        </pc:cxnChg>
        <pc:cxnChg chg="mod">
          <ac:chgData name="Daphnée Rotenbach" userId="7408d6fd-eaeb-47da-89e0-711fd1361cf1" providerId="ADAL" clId="{C9D903A4-46E6-4893-AFC2-D270D0EA1800}" dt="2021-05-10T10:36:51.902" v="1387" actId="1038"/>
          <ac:cxnSpMkLst>
            <pc:docMk/>
            <pc:sldMk cId="4213923831" sldId="1127"/>
            <ac:cxnSpMk id="38" creationId="{6A3B1DF8-DEFF-440B-A079-062961E960A5}"/>
          </ac:cxnSpMkLst>
        </pc:cxnChg>
      </pc:sldChg>
      <pc:sldChg chg="modSp mod ord">
        <pc:chgData name="Daphnée Rotenbach" userId="7408d6fd-eaeb-47da-89e0-711fd1361cf1" providerId="ADAL" clId="{C9D903A4-46E6-4893-AFC2-D270D0EA1800}" dt="2021-05-10T11:11:14.597" v="1546"/>
        <pc:sldMkLst>
          <pc:docMk/>
          <pc:sldMk cId="79996081" sldId="1243"/>
        </pc:sldMkLst>
        <pc:spChg chg="mod">
          <ac:chgData name="Daphnée Rotenbach" userId="7408d6fd-eaeb-47da-89e0-711fd1361cf1" providerId="ADAL" clId="{C9D903A4-46E6-4893-AFC2-D270D0EA1800}" dt="2021-05-07T15:00:57.111" v="239" actId="1076"/>
          <ac:spMkLst>
            <pc:docMk/>
            <pc:sldMk cId="79996081" sldId="1243"/>
            <ac:spMk id="4" creationId="{5AA7E92B-4778-476F-965C-993AC5F48229}"/>
          </ac:spMkLst>
        </pc:spChg>
      </pc:sldChg>
      <pc:sldChg chg="addSp modSp mod">
        <pc:chgData name="Daphnée Rotenbach" userId="7408d6fd-eaeb-47da-89e0-711fd1361cf1" providerId="ADAL" clId="{C9D903A4-46E6-4893-AFC2-D270D0EA1800}" dt="2021-05-10T14:46:10.185" v="2856" actId="14100"/>
        <pc:sldMkLst>
          <pc:docMk/>
          <pc:sldMk cId="891851627" sldId="1522"/>
        </pc:sldMkLst>
        <pc:picChg chg="mod">
          <ac:chgData name="Daphnée Rotenbach" userId="7408d6fd-eaeb-47da-89e0-711fd1361cf1" providerId="ADAL" clId="{C9D903A4-46E6-4893-AFC2-D270D0EA1800}" dt="2021-05-10T14:45:49.225" v="2852" actId="1076"/>
          <ac:picMkLst>
            <pc:docMk/>
            <pc:sldMk cId="891851627" sldId="1522"/>
            <ac:picMk id="5" creationId="{134F4B47-3594-4BF9-A964-82C7A88BF14E}"/>
          </ac:picMkLst>
        </pc:picChg>
        <pc:picChg chg="add mod">
          <ac:chgData name="Daphnée Rotenbach" userId="7408d6fd-eaeb-47da-89e0-711fd1361cf1" providerId="ADAL" clId="{C9D903A4-46E6-4893-AFC2-D270D0EA1800}" dt="2021-05-10T14:45:51.012" v="2853" actId="1076"/>
          <ac:picMkLst>
            <pc:docMk/>
            <pc:sldMk cId="891851627" sldId="1522"/>
            <ac:picMk id="6" creationId="{DC00CC7D-D098-40C4-AE68-E14E28C93A80}"/>
          </ac:picMkLst>
        </pc:picChg>
        <pc:picChg chg="add mod">
          <ac:chgData name="Daphnée Rotenbach" userId="7408d6fd-eaeb-47da-89e0-711fd1361cf1" providerId="ADAL" clId="{C9D903A4-46E6-4893-AFC2-D270D0EA1800}" dt="2021-05-10T14:46:10.185" v="2856" actId="14100"/>
          <ac:picMkLst>
            <pc:docMk/>
            <pc:sldMk cId="891851627" sldId="1522"/>
            <ac:picMk id="8" creationId="{69C36CB5-93DE-409F-9A02-DFD29D114BA1}"/>
          </ac:picMkLst>
        </pc:picChg>
      </pc:sldChg>
      <pc:sldChg chg="addSp delSp modSp mod">
        <pc:chgData name="Daphnée Rotenbach" userId="7408d6fd-eaeb-47da-89e0-711fd1361cf1" providerId="ADAL" clId="{C9D903A4-46E6-4893-AFC2-D270D0EA1800}" dt="2021-05-10T14:32:35.195" v="2775" actId="1036"/>
        <pc:sldMkLst>
          <pc:docMk/>
          <pc:sldMk cId="2588671513" sldId="1584"/>
        </pc:sldMkLst>
        <pc:spChg chg="mod">
          <ac:chgData name="Daphnée Rotenbach" userId="7408d6fd-eaeb-47da-89e0-711fd1361cf1" providerId="ADAL" clId="{C9D903A4-46E6-4893-AFC2-D270D0EA1800}" dt="2021-05-10T14:32:35.195" v="2775" actId="1036"/>
          <ac:spMkLst>
            <pc:docMk/>
            <pc:sldMk cId="2588671513" sldId="1584"/>
            <ac:spMk id="10" creationId="{9E5F688A-002F-42B2-9CD9-D7900C0B01DB}"/>
          </ac:spMkLst>
        </pc:spChg>
        <pc:spChg chg="add del mod">
          <ac:chgData name="Daphnée Rotenbach" userId="7408d6fd-eaeb-47da-89e0-711fd1361cf1" providerId="ADAL" clId="{C9D903A4-46E6-4893-AFC2-D270D0EA1800}" dt="2021-05-10T14:31:43.857" v="2768"/>
          <ac:spMkLst>
            <pc:docMk/>
            <pc:sldMk cId="2588671513" sldId="1584"/>
            <ac:spMk id="13" creationId="{E57C1702-98A6-4658-A65A-5B97E4AD94C9}"/>
          </ac:spMkLst>
        </pc:spChg>
      </pc:sldChg>
      <pc:sldChg chg="modSp mod">
        <pc:chgData name="Daphnée Rotenbach" userId="7408d6fd-eaeb-47da-89e0-711fd1361cf1" providerId="ADAL" clId="{C9D903A4-46E6-4893-AFC2-D270D0EA1800}" dt="2021-05-10T14:31:50.082" v="2769" actId="1076"/>
        <pc:sldMkLst>
          <pc:docMk/>
          <pc:sldMk cId="3054946831" sldId="1585"/>
        </pc:sldMkLst>
        <pc:spChg chg="mod">
          <ac:chgData name="Daphnée Rotenbach" userId="7408d6fd-eaeb-47da-89e0-711fd1361cf1" providerId="ADAL" clId="{C9D903A4-46E6-4893-AFC2-D270D0EA1800}" dt="2021-05-10T14:31:50.082" v="2769" actId="1076"/>
          <ac:spMkLst>
            <pc:docMk/>
            <pc:sldMk cId="3054946831" sldId="1585"/>
            <ac:spMk id="8" creationId="{10AA73B2-6751-464F-8B17-950FDE2B316E}"/>
          </ac:spMkLst>
        </pc:spChg>
        <pc:spChg chg="mod">
          <ac:chgData name="Daphnée Rotenbach" userId="7408d6fd-eaeb-47da-89e0-711fd1361cf1" providerId="ADAL" clId="{C9D903A4-46E6-4893-AFC2-D270D0EA1800}" dt="2021-05-10T11:26:34.589" v="1663" actId="1076"/>
          <ac:spMkLst>
            <pc:docMk/>
            <pc:sldMk cId="3054946831" sldId="1585"/>
            <ac:spMk id="11" creationId="{F8F8144E-C213-4B83-8BD7-41F492306758}"/>
          </ac:spMkLst>
        </pc:spChg>
      </pc:sldChg>
      <pc:sldChg chg="modSp mod">
        <pc:chgData name="Daphnée Rotenbach" userId="7408d6fd-eaeb-47da-89e0-711fd1361cf1" providerId="ADAL" clId="{C9D903A4-46E6-4893-AFC2-D270D0EA1800}" dt="2021-05-10T14:50:41.594" v="2970" actId="404"/>
        <pc:sldMkLst>
          <pc:docMk/>
          <pc:sldMk cId="4208645724" sldId="1586"/>
        </pc:sldMkLst>
        <pc:spChg chg="mod">
          <ac:chgData name="Daphnée Rotenbach" userId="7408d6fd-eaeb-47da-89e0-711fd1361cf1" providerId="ADAL" clId="{C9D903A4-46E6-4893-AFC2-D270D0EA1800}" dt="2021-05-10T11:26:45.110" v="1667" actId="1076"/>
          <ac:spMkLst>
            <pc:docMk/>
            <pc:sldMk cId="4208645724" sldId="1586"/>
            <ac:spMk id="12" creationId="{AA2EF4DA-3A44-42C7-8365-1F4C5353EA17}"/>
          </ac:spMkLst>
        </pc:spChg>
        <pc:spChg chg="mod">
          <ac:chgData name="Daphnée Rotenbach" userId="7408d6fd-eaeb-47da-89e0-711fd1361cf1" providerId="ADAL" clId="{C9D903A4-46E6-4893-AFC2-D270D0EA1800}" dt="2021-05-10T14:50:29.955" v="2966" actId="404"/>
          <ac:spMkLst>
            <pc:docMk/>
            <pc:sldMk cId="4208645724" sldId="1586"/>
            <ac:spMk id="21" creationId="{EA0BF11D-79F1-4CC3-9AC0-2C33348EC04B}"/>
          </ac:spMkLst>
        </pc:spChg>
        <pc:spChg chg="mod">
          <ac:chgData name="Daphnée Rotenbach" userId="7408d6fd-eaeb-47da-89e0-711fd1361cf1" providerId="ADAL" clId="{C9D903A4-46E6-4893-AFC2-D270D0EA1800}" dt="2021-05-10T14:50:35.852" v="2968" actId="404"/>
          <ac:spMkLst>
            <pc:docMk/>
            <pc:sldMk cId="4208645724" sldId="1586"/>
            <ac:spMk id="22" creationId="{422CC6B5-AD7E-4818-B42F-C5DD9E9BFE1E}"/>
          </ac:spMkLst>
        </pc:spChg>
        <pc:spChg chg="mod">
          <ac:chgData name="Daphnée Rotenbach" userId="7408d6fd-eaeb-47da-89e0-711fd1361cf1" providerId="ADAL" clId="{C9D903A4-46E6-4893-AFC2-D270D0EA1800}" dt="2021-05-10T14:50:41.594" v="2970" actId="404"/>
          <ac:spMkLst>
            <pc:docMk/>
            <pc:sldMk cId="4208645724" sldId="1586"/>
            <ac:spMk id="23" creationId="{3638070F-8093-4FD1-850D-FB7D3202DE7B}"/>
          </ac:spMkLst>
        </pc:spChg>
      </pc:sldChg>
      <pc:sldChg chg="modSp mod">
        <pc:chgData name="Daphnée Rotenbach" userId="7408d6fd-eaeb-47da-89e0-711fd1361cf1" providerId="ADAL" clId="{C9D903A4-46E6-4893-AFC2-D270D0EA1800}" dt="2021-05-10T11:26:52.663" v="1668" actId="255"/>
        <pc:sldMkLst>
          <pc:docMk/>
          <pc:sldMk cId="2200268460" sldId="1587"/>
        </pc:sldMkLst>
        <pc:spChg chg="mod">
          <ac:chgData name="Daphnée Rotenbach" userId="7408d6fd-eaeb-47da-89e0-711fd1361cf1" providerId="ADAL" clId="{C9D903A4-46E6-4893-AFC2-D270D0EA1800}" dt="2021-05-10T11:26:52.663" v="1668" actId="255"/>
          <ac:spMkLst>
            <pc:docMk/>
            <pc:sldMk cId="2200268460" sldId="1587"/>
            <ac:spMk id="10" creationId="{65CFF2A9-044D-4689-8F74-8ED62E53BF06}"/>
          </ac:spMkLst>
        </pc:spChg>
      </pc:sldChg>
      <pc:sldChg chg="delSp modSp mod">
        <pc:chgData name="Daphnée Rotenbach" userId="7408d6fd-eaeb-47da-89e0-711fd1361cf1" providerId="ADAL" clId="{C9D903A4-46E6-4893-AFC2-D270D0EA1800}" dt="2021-05-10T14:55:15.694" v="2976" actId="478"/>
        <pc:sldMkLst>
          <pc:docMk/>
          <pc:sldMk cId="1320698456" sldId="1590"/>
        </pc:sldMkLst>
        <pc:spChg chg="mod">
          <ac:chgData name="Daphnée Rotenbach" userId="7408d6fd-eaeb-47da-89e0-711fd1361cf1" providerId="ADAL" clId="{C9D903A4-46E6-4893-AFC2-D270D0EA1800}" dt="2021-05-10T11:31:22.921" v="1702" actId="1076"/>
          <ac:spMkLst>
            <pc:docMk/>
            <pc:sldMk cId="1320698456" sldId="1590"/>
            <ac:spMk id="8" creationId="{104CB144-5DD3-43CE-B8A0-9676BBED4B39}"/>
          </ac:spMkLst>
        </pc:spChg>
        <pc:spChg chg="del">
          <ac:chgData name="Daphnée Rotenbach" userId="7408d6fd-eaeb-47da-89e0-711fd1361cf1" providerId="ADAL" clId="{C9D903A4-46E6-4893-AFC2-D270D0EA1800}" dt="2021-05-10T14:55:14.025" v="2975" actId="478"/>
          <ac:spMkLst>
            <pc:docMk/>
            <pc:sldMk cId="1320698456" sldId="1590"/>
            <ac:spMk id="9" creationId="{3538DB63-D32C-42A2-8C6C-D424B896966A}"/>
          </ac:spMkLst>
        </pc:spChg>
        <pc:picChg chg="del">
          <ac:chgData name="Daphnée Rotenbach" userId="7408d6fd-eaeb-47da-89e0-711fd1361cf1" providerId="ADAL" clId="{C9D903A4-46E6-4893-AFC2-D270D0EA1800}" dt="2021-05-10T14:55:15.694" v="2976" actId="478"/>
          <ac:picMkLst>
            <pc:docMk/>
            <pc:sldMk cId="1320698456" sldId="1590"/>
            <ac:picMk id="6" creationId="{2BE1EB33-0FCB-492D-8C73-BE8F694F7D5F}"/>
          </ac:picMkLst>
        </pc:picChg>
      </pc:sldChg>
      <pc:sldChg chg="modSp mod">
        <pc:chgData name="Daphnée Rotenbach" userId="7408d6fd-eaeb-47da-89e0-711fd1361cf1" providerId="ADAL" clId="{C9D903A4-46E6-4893-AFC2-D270D0EA1800}" dt="2021-05-10T10:38:27.098" v="1435" actId="20577"/>
        <pc:sldMkLst>
          <pc:docMk/>
          <pc:sldMk cId="2188961370" sldId="1592"/>
        </pc:sldMkLst>
        <pc:spChg chg="mod">
          <ac:chgData name="Daphnée Rotenbach" userId="7408d6fd-eaeb-47da-89e0-711fd1361cf1" providerId="ADAL" clId="{C9D903A4-46E6-4893-AFC2-D270D0EA1800}" dt="2021-05-10T10:37:49.401" v="1414" actId="1037"/>
          <ac:spMkLst>
            <pc:docMk/>
            <pc:sldMk cId="2188961370" sldId="1592"/>
            <ac:spMk id="13" creationId="{F7EA6E66-D401-4A1A-BB1E-D1EE3D23B4BF}"/>
          </ac:spMkLst>
        </pc:spChg>
        <pc:spChg chg="mod">
          <ac:chgData name="Daphnée Rotenbach" userId="7408d6fd-eaeb-47da-89e0-711fd1361cf1" providerId="ADAL" clId="{C9D903A4-46E6-4893-AFC2-D270D0EA1800}" dt="2021-05-10T10:38:08.318" v="1433" actId="1037"/>
          <ac:spMkLst>
            <pc:docMk/>
            <pc:sldMk cId="2188961370" sldId="1592"/>
            <ac:spMk id="14" creationId="{ABCAD4BE-96B8-4ED0-960E-E3F4510A80D8}"/>
          </ac:spMkLst>
        </pc:spChg>
        <pc:spChg chg="mod">
          <ac:chgData name="Daphnée Rotenbach" userId="7408d6fd-eaeb-47da-89e0-711fd1361cf1" providerId="ADAL" clId="{C9D903A4-46E6-4893-AFC2-D270D0EA1800}" dt="2021-05-10T10:38:02.792" v="1423" actId="1037"/>
          <ac:spMkLst>
            <pc:docMk/>
            <pc:sldMk cId="2188961370" sldId="1592"/>
            <ac:spMk id="15" creationId="{76AF5837-2945-4164-9E93-F6466AB34476}"/>
          </ac:spMkLst>
        </pc:spChg>
        <pc:spChg chg="mod">
          <ac:chgData name="Daphnée Rotenbach" userId="7408d6fd-eaeb-47da-89e0-711fd1361cf1" providerId="ADAL" clId="{C9D903A4-46E6-4893-AFC2-D270D0EA1800}" dt="2021-05-10T10:38:27.098" v="1435" actId="20577"/>
          <ac:spMkLst>
            <pc:docMk/>
            <pc:sldMk cId="2188961370" sldId="1592"/>
            <ac:spMk id="17" creationId="{78160450-2AC9-42BB-9395-77AAB1438493}"/>
          </ac:spMkLst>
        </pc:spChg>
      </pc:sldChg>
      <pc:sldChg chg="modSp mod">
        <pc:chgData name="Daphnée Rotenbach" userId="7408d6fd-eaeb-47da-89e0-711fd1361cf1" providerId="ADAL" clId="{C9D903A4-46E6-4893-AFC2-D270D0EA1800}" dt="2021-05-10T10:39:15.048" v="1507" actId="1035"/>
        <pc:sldMkLst>
          <pc:docMk/>
          <pc:sldMk cId="764671708" sldId="1596"/>
        </pc:sldMkLst>
        <pc:spChg chg="mod">
          <ac:chgData name="Daphnée Rotenbach" userId="7408d6fd-eaeb-47da-89e0-711fd1361cf1" providerId="ADAL" clId="{C9D903A4-46E6-4893-AFC2-D270D0EA1800}" dt="2021-05-10T10:39:15.048" v="1507" actId="1035"/>
          <ac:spMkLst>
            <pc:docMk/>
            <pc:sldMk cId="764671708" sldId="1596"/>
            <ac:spMk id="8" creationId="{104CB144-5DD3-43CE-B8A0-9676BBED4B39}"/>
          </ac:spMkLst>
        </pc:spChg>
      </pc:sldChg>
      <pc:sldChg chg="add del">
        <pc:chgData name="Daphnée Rotenbach" userId="7408d6fd-eaeb-47da-89e0-711fd1361cf1" providerId="ADAL" clId="{C9D903A4-46E6-4893-AFC2-D270D0EA1800}" dt="2021-05-10T11:20:57.514" v="1584" actId="47"/>
        <pc:sldMkLst>
          <pc:docMk/>
          <pc:sldMk cId="3356752278" sldId="1599"/>
        </pc:sldMkLst>
      </pc:sldChg>
      <pc:sldChg chg="addSp delSp modSp add mod ord">
        <pc:chgData name="Daphnée Rotenbach" userId="7408d6fd-eaeb-47da-89e0-711fd1361cf1" providerId="ADAL" clId="{C9D903A4-46E6-4893-AFC2-D270D0EA1800}" dt="2021-05-10T14:33:37.441" v="2778" actId="20577"/>
        <pc:sldMkLst>
          <pc:docMk/>
          <pc:sldMk cId="198236115" sldId="1605"/>
        </pc:sldMkLst>
        <pc:spChg chg="mod">
          <ac:chgData name="Daphnée Rotenbach" userId="7408d6fd-eaeb-47da-89e0-711fd1361cf1" providerId="ADAL" clId="{C9D903A4-46E6-4893-AFC2-D270D0EA1800}" dt="2021-05-10T14:27:26.970" v="2530" actId="20577"/>
          <ac:spMkLst>
            <pc:docMk/>
            <pc:sldMk cId="198236115" sldId="1605"/>
            <ac:spMk id="2" creationId="{FDA5D084-C552-496E-B9AA-EE3D7E9E0FDA}"/>
          </ac:spMkLst>
        </pc:spChg>
        <pc:spChg chg="mod">
          <ac:chgData name="Daphnée Rotenbach" userId="7408d6fd-eaeb-47da-89e0-711fd1361cf1" providerId="ADAL" clId="{C9D903A4-46E6-4893-AFC2-D270D0EA1800}" dt="2021-05-10T14:33:37.441" v="2778" actId="20577"/>
          <ac:spMkLst>
            <pc:docMk/>
            <pc:sldMk cId="198236115" sldId="1605"/>
            <ac:spMk id="3" creationId="{F1F12EE1-43B0-4590-9490-78F653572E77}"/>
          </ac:spMkLst>
        </pc:spChg>
        <pc:spChg chg="add del mod">
          <ac:chgData name="Daphnée Rotenbach" userId="7408d6fd-eaeb-47da-89e0-711fd1361cf1" providerId="ADAL" clId="{C9D903A4-46E6-4893-AFC2-D270D0EA1800}" dt="2021-05-10T14:28:56.298" v="2557" actId="478"/>
          <ac:spMkLst>
            <pc:docMk/>
            <pc:sldMk cId="198236115" sldId="1605"/>
            <ac:spMk id="6" creationId="{277FE84F-7E35-460F-A1FD-351519D2F47C}"/>
          </ac:spMkLst>
        </pc:spChg>
      </pc:sldChg>
      <pc:sldChg chg="add del">
        <pc:chgData name="Daphnée Rotenbach" userId="7408d6fd-eaeb-47da-89e0-711fd1361cf1" providerId="ADAL" clId="{C9D903A4-46E6-4893-AFC2-D270D0EA1800}" dt="2021-05-10T11:15:18.458" v="1557" actId="47"/>
        <pc:sldMkLst>
          <pc:docMk/>
          <pc:sldMk cId="173415771" sldId="1618"/>
        </pc:sldMkLst>
      </pc:sldChg>
      <pc:sldChg chg="addSp delSp modSp mod">
        <pc:chgData name="Daphnée Rotenbach" userId="7408d6fd-eaeb-47da-89e0-711fd1361cf1" providerId="ADAL" clId="{C9D903A4-46E6-4893-AFC2-D270D0EA1800}" dt="2021-05-10T14:47:04.743" v="2878" actId="1035"/>
        <pc:sldMkLst>
          <pc:docMk/>
          <pc:sldMk cId="3889016360" sldId="1622"/>
        </pc:sldMkLst>
        <pc:spChg chg="add del mod">
          <ac:chgData name="Daphnée Rotenbach" userId="7408d6fd-eaeb-47da-89e0-711fd1361cf1" providerId="ADAL" clId="{C9D903A4-46E6-4893-AFC2-D270D0EA1800}" dt="2021-05-10T08:53:45.557" v="697" actId="478"/>
          <ac:spMkLst>
            <pc:docMk/>
            <pc:sldMk cId="3889016360" sldId="1622"/>
            <ac:spMk id="5" creationId="{9A46DBF2-D0AF-47AB-A720-CB55F083FDBF}"/>
          </ac:spMkLst>
        </pc:spChg>
        <pc:spChg chg="add del mod ord">
          <ac:chgData name="Daphnée Rotenbach" userId="7408d6fd-eaeb-47da-89e0-711fd1361cf1" providerId="ADAL" clId="{C9D903A4-46E6-4893-AFC2-D270D0EA1800}" dt="2021-05-10T09:02:02.926" v="782" actId="478"/>
          <ac:spMkLst>
            <pc:docMk/>
            <pc:sldMk cId="3889016360" sldId="1622"/>
            <ac:spMk id="6" creationId="{5FE3EC8F-33BC-4B69-8253-6A23EF9A0EE3}"/>
          </ac:spMkLst>
        </pc:spChg>
        <pc:spChg chg="del mod">
          <ac:chgData name="Daphnée Rotenbach" userId="7408d6fd-eaeb-47da-89e0-711fd1361cf1" providerId="ADAL" clId="{C9D903A4-46E6-4893-AFC2-D270D0EA1800}" dt="2021-05-10T08:53:40.610" v="695" actId="478"/>
          <ac:spMkLst>
            <pc:docMk/>
            <pc:sldMk cId="3889016360" sldId="1622"/>
            <ac:spMk id="13" creationId="{B3E3AB18-EB48-4D14-B4A5-CBB2233A8639}"/>
          </ac:spMkLst>
        </pc:spChg>
        <pc:spChg chg="add del">
          <ac:chgData name="Daphnée Rotenbach" userId="7408d6fd-eaeb-47da-89e0-711fd1361cf1" providerId="ADAL" clId="{C9D903A4-46E6-4893-AFC2-D270D0EA1800}" dt="2021-05-10T08:46:36.767" v="609" actId="478"/>
          <ac:spMkLst>
            <pc:docMk/>
            <pc:sldMk cId="3889016360" sldId="1622"/>
            <ac:spMk id="15" creationId="{B99DF7E6-98FE-45FB-9AC4-CD40A702521F}"/>
          </ac:spMkLst>
        </pc:spChg>
        <pc:spChg chg="del">
          <ac:chgData name="Daphnée Rotenbach" userId="7408d6fd-eaeb-47da-89e0-711fd1361cf1" providerId="ADAL" clId="{C9D903A4-46E6-4893-AFC2-D270D0EA1800}" dt="2021-05-10T08:50:46.946" v="666" actId="478"/>
          <ac:spMkLst>
            <pc:docMk/>
            <pc:sldMk cId="3889016360" sldId="1622"/>
            <ac:spMk id="19" creationId="{8D38F8B2-EE6B-4200-9264-8DDEF7C184E8}"/>
          </ac:spMkLst>
        </pc:spChg>
        <pc:spChg chg="del mod">
          <ac:chgData name="Daphnée Rotenbach" userId="7408d6fd-eaeb-47da-89e0-711fd1361cf1" providerId="ADAL" clId="{C9D903A4-46E6-4893-AFC2-D270D0EA1800}" dt="2021-05-10T08:50:45.188" v="665" actId="478"/>
          <ac:spMkLst>
            <pc:docMk/>
            <pc:sldMk cId="3889016360" sldId="1622"/>
            <ac:spMk id="20" creationId="{072F9CC1-673F-4201-B122-9A27927D4333}"/>
          </ac:spMkLst>
        </pc:spChg>
        <pc:spChg chg="mod">
          <ac:chgData name="Daphnée Rotenbach" userId="7408d6fd-eaeb-47da-89e0-711fd1361cf1" providerId="ADAL" clId="{C9D903A4-46E6-4893-AFC2-D270D0EA1800}" dt="2021-05-10T11:12:52.475" v="1553" actId="20577"/>
          <ac:spMkLst>
            <pc:docMk/>
            <pc:sldMk cId="3889016360" sldId="1622"/>
            <ac:spMk id="21" creationId="{72DB4C6D-69F9-4DAC-B190-C4017F83858A}"/>
          </ac:spMkLst>
        </pc:spChg>
        <pc:spChg chg="del mod">
          <ac:chgData name="Daphnée Rotenbach" userId="7408d6fd-eaeb-47da-89e0-711fd1361cf1" providerId="ADAL" clId="{C9D903A4-46E6-4893-AFC2-D270D0EA1800}" dt="2021-05-10T09:03:22.970" v="790" actId="478"/>
          <ac:spMkLst>
            <pc:docMk/>
            <pc:sldMk cId="3889016360" sldId="1622"/>
            <ac:spMk id="22" creationId="{3C1A6AFD-71EA-429C-9EFF-739771CFB98B}"/>
          </ac:spMkLst>
        </pc:spChg>
        <pc:spChg chg="del">
          <ac:chgData name="Daphnée Rotenbach" userId="7408d6fd-eaeb-47da-89e0-711fd1361cf1" providerId="ADAL" clId="{C9D903A4-46E6-4893-AFC2-D270D0EA1800}" dt="2021-05-10T08:47:27.671" v="614" actId="478"/>
          <ac:spMkLst>
            <pc:docMk/>
            <pc:sldMk cId="3889016360" sldId="1622"/>
            <ac:spMk id="31" creationId="{B2190D1D-31AA-451B-9266-4F72B041B0F6}"/>
          </ac:spMkLst>
        </pc:spChg>
        <pc:spChg chg="del mod">
          <ac:chgData name="Daphnée Rotenbach" userId="7408d6fd-eaeb-47da-89e0-711fd1361cf1" providerId="ADAL" clId="{C9D903A4-46E6-4893-AFC2-D270D0EA1800}" dt="2021-05-10T08:53:37.817" v="694" actId="478"/>
          <ac:spMkLst>
            <pc:docMk/>
            <pc:sldMk cId="3889016360" sldId="1622"/>
            <ac:spMk id="32" creationId="{B5BE4D6D-2028-405C-AE28-156F664B9CA7}"/>
          </ac:spMkLst>
        </pc:spChg>
        <pc:spChg chg="del">
          <ac:chgData name="Daphnée Rotenbach" userId="7408d6fd-eaeb-47da-89e0-711fd1361cf1" providerId="ADAL" clId="{C9D903A4-46E6-4893-AFC2-D270D0EA1800}" dt="2021-05-10T08:47:27.671" v="614" actId="478"/>
          <ac:spMkLst>
            <pc:docMk/>
            <pc:sldMk cId="3889016360" sldId="1622"/>
            <ac:spMk id="33" creationId="{8438B3F5-514A-48FC-9C0F-E59E34E9FCA1}"/>
          </ac:spMkLst>
        </pc:spChg>
        <pc:spChg chg="add del">
          <ac:chgData name="Daphnée Rotenbach" userId="7408d6fd-eaeb-47da-89e0-711fd1361cf1" providerId="ADAL" clId="{C9D903A4-46E6-4893-AFC2-D270D0EA1800}" dt="2021-05-10T08:46:37.111" v="610" actId="478"/>
          <ac:spMkLst>
            <pc:docMk/>
            <pc:sldMk cId="3889016360" sldId="1622"/>
            <ac:spMk id="34" creationId="{067D8DC0-2991-4BA9-BA6D-B7994EE18FC8}"/>
          </ac:spMkLst>
        </pc:spChg>
        <pc:spChg chg="del">
          <ac:chgData name="Daphnée Rotenbach" userId="7408d6fd-eaeb-47da-89e0-711fd1361cf1" providerId="ADAL" clId="{C9D903A4-46E6-4893-AFC2-D270D0EA1800}" dt="2021-05-10T08:47:10.892" v="612" actId="478"/>
          <ac:spMkLst>
            <pc:docMk/>
            <pc:sldMk cId="3889016360" sldId="1622"/>
            <ac:spMk id="41" creationId="{8451CD2F-576F-49A8-95D9-F5C8BAFFF5F5}"/>
          </ac:spMkLst>
        </pc:spChg>
        <pc:graphicFrameChg chg="mod modGraphic">
          <ac:chgData name="Daphnée Rotenbach" userId="7408d6fd-eaeb-47da-89e0-711fd1361cf1" providerId="ADAL" clId="{C9D903A4-46E6-4893-AFC2-D270D0EA1800}" dt="2021-05-10T10:35:19.225" v="1374" actId="255"/>
          <ac:graphicFrameMkLst>
            <pc:docMk/>
            <pc:sldMk cId="3889016360" sldId="1622"/>
            <ac:graphicFrameMk id="14" creationId="{69D72ECC-A97E-4460-AFF8-87A5BDF4D9FC}"/>
          </ac:graphicFrameMkLst>
        </pc:graphicFrameChg>
        <pc:picChg chg="add del mod">
          <ac:chgData name="Daphnée Rotenbach" userId="7408d6fd-eaeb-47da-89e0-711fd1361cf1" providerId="ADAL" clId="{C9D903A4-46E6-4893-AFC2-D270D0EA1800}" dt="2021-05-10T08:50:31.746" v="661" actId="478"/>
          <ac:picMkLst>
            <pc:docMk/>
            <pc:sldMk cId="3889016360" sldId="1622"/>
            <ac:picMk id="3" creationId="{95B7C00D-D6FE-40EA-9B75-E1093EACA934}"/>
          </ac:picMkLst>
        </pc:picChg>
        <pc:picChg chg="mod">
          <ac:chgData name="Daphnée Rotenbach" userId="7408d6fd-eaeb-47da-89e0-711fd1361cf1" providerId="ADAL" clId="{C9D903A4-46E6-4893-AFC2-D270D0EA1800}" dt="2021-05-10T08:51:10.717" v="670" actId="1076"/>
          <ac:picMkLst>
            <pc:docMk/>
            <pc:sldMk cId="3889016360" sldId="1622"/>
            <ac:picMk id="10" creationId="{FA8269E7-E4A1-4DFE-850F-63C75FBE74AA}"/>
          </ac:picMkLst>
        </pc:picChg>
        <pc:picChg chg="del">
          <ac:chgData name="Daphnée Rotenbach" userId="7408d6fd-eaeb-47da-89e0-711fd1361cf1" providerId="ADAL" clId="{C9D903A4-46E6-4893-AFC2-D270D0EA1800}" dt="2021-05-10T08:50:53.849" v="669" actId="478"/>
          <ac:picMkLst>
            <pc:docMk/>
            <pc:sldMk cId="3889016360" sldId="1622"/>
            <ac:picMk id="17" creationId="{7D1E2E2D-CBFC-4675-AC7D-0A3D93AEF33E}"/>
          </ac:picMkLst>
        </pc:picChg>
        <pc:picChg chg="del mod">
          <ac:chgData name="Daphnée Rotenbach" userId="7408d6fd-eaeb-47da-89e0-711fd1361cf1" providerId="ADAL" clId="{C9D903A4-46E6-4893-AFC2-D270D0EA1800}" dt="2021-05-10T08:57:59.001" v="726" actId="478"/>
          <ac:picMkLst>
            <pc:docMk/>
            <pc:sldMk cId="3889016360" sldId="1622"/>
            <ac:picMk id="18" creationId="{E18BA1C8-4E43-4F99-9AC9-0EEBE50208AE}"/>
          </ac:picMkLst>
        </pc:picChg>
        <pc:picChg chg="add mod ord">
          <ac:chgData name="Daphnée Rotenbach" userId="7408d6fd-eaeb-47da-89e0-711fd1361cf1" providerId="ADAL" clId="{C9D903A4-46E6-4893-AFC2-D270D0EA1800}" dt="2021-05-10T14:47:04.743" v="2878" actId="1035"/>
          <ac:picMkLst>
            <pc:docMk/>
            <pc:sldMk cId="3889016360" sldId="1622"/>
            <ac:picMk id="23" creationId="{6933C1F4-34A0-4333-9272-70E8233FA5DA}"/>
          </ac:picMkLst>
        </pc:picChg>
      </pc:sldChg>
      <pc:sldChg chg="ord">
        <pc:chgData name="Daphnée Rotenbach" userId="7408d6fd-eaeb-47da-89e0-711fd1361cf1" providerId="ADAL" clId="{C9D903A4-46E6-4893-AFC2-D270D0EA1800}" dt="2021-05-10T11:13:03.583" v="1555"/>
        <pc:sldMkLst>
          <pc:docMk/>
          <pc:sldMk cId="2117334877" sldId="1623"/>
        </pc:sldMkLst>
      </pc:sldChg>
      <pc:sldChg chg="ord">
        <pc:chgData name="Daphnée Rotenbach" userId="7408d6fd-eaeb-47da-89e0-711fd1361cf1" providerId="ADAL" clId="{C9D903A4-46E6-4893-AFC2-D270D0EA1800}" dt="2021-05-10T11:17:27.912" v="1563"/>
        <pc:sldMkLst>
          <pc:docMk/>
          <pc:sldMk cId="697204306" sldId="1624"/>
        </pc:sldMkLst>
      </pc:sldChg>
      <pc:sldChg chg="ord">
        <pc:chgData name="Daphnée Rotenbach" userId="7408d6fd-eaeb-47da-89e0-711fd1361cf1" providerId="ADAL" clId="{C9D903A4-46E6-4893-AFC2-D270D0EA1800}" dt="2021-05-10T11:17:27.912" v="1563"/>
        <pc:sldMkLst>
          <pc:docMk/>
          <pc:sldMk cId="2521456746" sldId="1625"/>
        </pc:sldMkLst>
      </pc:sldChg>
      <pc:sldChg chg="ord">
        <pc:chgData name="Daphnée Rotenbach" userId="7408d6fd-eaeb-47da-89e0-711fd1361cf1" providerId="ADAL" clId="{C9D903A4-46E6-4893-AFC2-D270D0EA1800}" dt="2021-05-10T11:18:57.087" v="1577"/>
        <pc:sldMkLst>
          <pc:docMk/>
          <pc:sldMk cId="2236650680" sldId="1626"/>
        </pc:sldMkLst>
      </pc:sldChg>
      <pc:sldChg chg="modSp mod ord">
        <pc:chgData name="Daphnée Rotenbach" userId="7408d6fd-eaeb-47da-89e0-711fd1361cf1" providerId="ADAL" clId="{C9D903A4-46E6-4893-AFC2-D270D0EA1800}" dt="2021-05-10T11:22:10.678" v="1597"/>
        <pc:sldMkLst>
          <pc:docMk/>
          <pc:sldMk cId="3676979894" sldId="1627"/>
        </pc:sldMkLst>
        <pc:spChg chg="mod">
          <ac:chgData name="Daphnée Rotenbach" userId="7408d6fd-eaeb-47da-89e0-711fd1361cf1" providerId="ADAL" clId="{C9D903A4-46E6-4893-AFC2-D270D0EA1800}" dt="2021-05-07T14:59:55.630" v="227" actId="14100"/>
          <ac:spMkLst>
            <pc:docMk/>
            <pc:sldMk cId="3676979894" sldId="1627"/>
            <ac:spMk id="11" creationId="{3B74ABDC-313C-4581-ABCC-FE427075B6A1}"/>
          </ac:spMkLst>
        </pc:spChg>
        <pc:spChg chg="mod">
          <ac:chgData name="Daphnée Rotenbach" userId="7408d6fd-eaeb-47da-89e0-711fd1361cf1" providerId="ADAL" clId="{C9D903A4-46E6-4893-AFC2-D270D0EA1800}" dt="2021-05-07T14:59:43.893" v="226" actId="1035"/>
          <ac:spMkLst>
            <pc:docMk/>
            <pc:sldMk cId="3676979894" sldId="1627"/>
            <ac:spMk id="12" creationId="{7DEE1328-88BF-4977-AE8C-4CBBAB128356}"/>
          </ac:spMkLst>
        </pc:spChg>
        <pc:spChg chg="mod">
          <ac:chgData name="Daphnée Rotenbach" userId="7408d6fd-eaeb-47da-89e0-711fd1361cf1" providerId="ADAL" clId="{C9D903A4-46E6-4893-AFC2-D270D0EA1800}" dt="2021-05-07T15:00:01.035" v="228" actId="14100"/>
          <ac:spMkLst>
            <pc:docMk/>
            <pc:sldMk cId="3676979894" sldId="1627"/>
            <ac:spMk id="13" creationId="{5FF95E59-D61F-41B4-8B92-5453925E9460}"/>
          </ac:spMkLst>
        </pc:spChg>
        <pc:spChg chg="mod">
          <ac:chgData name="Daphnée Rotenbach" userId="7408d6fd-eaeb-47da-89e0-711fd1361cf1" providerId="ADAL" clId="{C9D903A4-46E6-4893-AFC2-D270D0EA1800}" dt="2021-05-10T10:36:19.162" v="1379" actId="20577"/>
          <ac:spMkLst>
            <pc:docMk/>
            <pc:sldMk cId="3676979894" sldId="1627"/>
            <ac:spMk id="15" creationId="{CBCB4A64-7D74-4A66-A44F-1E280B2BE44A}"/>
          </ac:spMkLst>
        </pc:spChg>
      </pc:sldChg>
      <pc:sldChg chg="delSp modSp add del mod">
        <pc:chgData name="Daphnée Rotenbach" userId="7408d6fd-eaeb-47da-89e0-711fd1361cf1" providerId="ADAL" clId="{C9D903A4-46E6-4893-AFC2-D270D0EA1800}" dt="2021-05-10T07:23:58.343" v="348" actId="47"/>
        <pc:sldMkLst>
          <pc:docMk/>
          <pc:sldMk cId="3773029528" sldId="1628"/>
        </pc:sldMkLst>
        <pc:spChg chg="del">
          <ac:chgData name="Daphnée Rotenbach" userId="7408d6fd-eaeb-47da-89e0-711fd1361cf1" providerId="ADAL" clId="{C9D903A4-46E6-4893-AFC2-D270D0EA1800}" dt="2021-05-10T07:18:37.915" v="329" actId="478"/>
          <ac:spMkLst>
            <pc:docMk/>
            <pc:sldMk cId="3773029528" sldId="1628"/>
            <ac:spMk id="4" creationId="{44308A8F-2BAE-498A-A0CC-950034010BD2}"/>
          </ac:spMkLst>
        </pc:spChg>
        <pc:spChg chg="del mod">
          <ac:chgData name="Daphnée Rotenbach" userId="7408d6fd-eaeb-47da-89e0-711fd1361cf1" providerId="ADAL" clId="{C9D903A4-46E6-4893-AFC2-D270D0EA1800}" dt="2021-05-07T15:11:59.094" v="274" actId="478"/>
          <ac:spMkLst>
            <pc:docMk/>
            <pc:sldMk cId="3773029528" sldId="1628"/>
            <ac:spMk id="9" creationId="{CBE0BBB4-138E-4957-86BF-284B5AAEEE41}"/>
          </ac:spMkLst>
        </pc:spChg>
        <pc:spChg chg="del">
          <ac:chgData name="Daphnée Rotenbach" userId="7408d6fd-eaeb-47da-89e0-711fd1361cf1" providerId="ADAL" clId="{C9D903A4-46E6-4893-AFC2-D270D0EA1800}" dt="2021-05-10T07:18:37.915" v="329" actId="478"/>
          <ac:spMkLst>
            <pc:docMk/>
            <pc:sldMk cId="3773029528" sldId="1628"/>
            <ac:spMk id="11" creationId="{15809935-B924-48FD-9E2C-07AA42EB1A05}"/>
          </ac:spMkLst>
        </pc:spChg>
        <pc:spChg chg="del">
          <ac:chgData name="Daphnée Rotenbach" userId="7408d6fd-eaeb-47da-89e0-711fd1361cf1" providerId="ADAL" clId="{C9D903A4-46E6-4893-AFC2-D270D0EA1800}" dt="2021-05-10T07:22:14.362" v="341" actId="478"/>
          <ac:spMkLst>
            <pc:docMk/>
            <pc:sldMk cId="3773029528" sldId="1628"/>
            <ac:spMk id="12" creationId="{EA921A8A-B4C3-470B-94E3-8C4DF23D793F}"/>
          </ac:spMkLst>
        </pc:spChg>
        <pc:spChg chg="del">
          <ac:chgData name="Daphnée Rotenbach" userId="7408d6fd-eaeb-47da-89e0-711fd1361cf1" providerId="ADAL" clId="{C9D903A4-46E6-4893-AFC2-D270D0EA1800}" dt="2021-05-10T07:22:14.362" v="341" actId="478"/>
          <ac:spMkLst>
            <pc:docMk/>
            <pc:sldMk cId="3773029528" sldId="1628"/>
            <ac:spMk id="13" creationId="{87756EEA-DD99-44BC-B094-065F15D8EDE3}"/>
          </ac:spMkLst>
        </pc:spChg>
        <pc:spChg chg="del">
          <ac:chgData name="Daphnée Rotenbach" userId="7408d6fd-eaeb-47da-89e0-711fd1361cf1" providerId="ADAL" clId="{C9D903A4-46E6-4893-AFC2-D270D0EA1800}" dt="2021-05-07T15:12:02.161" v="276" actId="478"/>
          <ac:spMkLst>
            <pc:docMk/>
            <pc:sldMk cId="3773029528" sldId="1628"/>
            <ac:spMk id="17" creationId="{0B45B1D3-C661-4F0B-8C1E-E48314CEB1F4}"/>
          </ac:spMkLst>
        </pc:spChg>
        <pc:picChg chg="del">
          <ac:chgData name="Daphnée Rotenbach" userId="7408d6fd-eaeb-47da-89e0-711fd1361cf1" providerId="ADAL" clId="{C9D903A4-46E6-4893-AFC2-D270D0EA1800}" dt="2021-05-07T15:12:00.068" v="275" actId="478"/>
          <ac:picMkLst>
            <pc:docMk/>
            <pc:sldMk cId="3773029528" sldId="1628"/>
            <ac:picMk id="10" creationId="{FA8269E7-E4A1-4DFE-850F-63C75FBE74AA}"/>
          </ac:picMkLst>
        </pc:picChg>
      </pc:sldChg>
      <pc:sldChg chg="modSp mod">
        <pc:chgData name="Daphnée Rotenbach" userId="7408d6fd-eaeb-47da-89e0-711fd1361cf1" providerId="ADAL" clId="{C9D903A4-46E6-4893-AFC2-D270D0EA1800}" dt="2021-05-10T10:38:57.474" v="1474" actId="1036"/>
        <pc:sldMkLst>
          <pc:docMk/>
          <pc:sldMk cId="553443516" sldId="1629"/>
        </pc:sldMkLst>
        <pc:spChg chg="mod">
          <ac:chgData name="Daphnée Rotenbach" userId="7408d6fd-eaeb-47da-89e0-711fd1361cf1" providerId="ADAL" clId="{C9D903A4-46E6-4893-AFC2-D270D0EA1800}" dt="2021-05-10T10:38:57.474" v="1474" actId="1036"/>
          <ac:spMkLst>
            <pc:docMk/>
            <pc:sldMk cId="553443516" sldId="1629"/>
            <ac:spMk id="8" creationId="{104CB144-5DD3-43CE-B8A0-9676BBED4B39}"/>
          </ac:spMkLst>
        </pc:spChg>
      </pc:sldChg>
      <pc:sldChg chg="add del">
        <pc:chgData name="Daphnée Rotenbach" userId="7408d6fd-eaeb-47da-89e0-711fd1361cf1" providerId="ADAL" clId="{C9D903A4-46E6-4893-AFC2-D270D0EA1800}" dt="2021-05-07T15:12:10.736" v="278"/>
        <pc:sldMkLst>
          <pc:docMk/>
          <pc:sldMk cId="4045112594" sldId="1629"/>
        </pc:sldMkLst>
      </pc:sldChg>
      <pc:sldChg chg="addSp delSp modSp mod">
        <pc:chgData name="Daphnée Rotenbach" userId="7408d6fd-eaeb-47da-89e0-711fd1361cf1" providerId="ADAL" clId="{C9D903A4-46E6-4893-AFC2-D270D0EA1800}" dt="2021-05-10T14:08:51.114" v="2152" actId="14100"/>
        <pc:sldMkLst>
          <pc:docMk/>
          <pc:sldMk cId="3386173775" sldId="1630"/>
        </pc:sldMkLst>
        <pc:spChg chg="del mod">
          <ac:chgData name="Daphnée Rotenbach" userId="7408d6fd-eaeb-47da-89e0-711fd1361cf1" providerId="ADAL" clId="{C9D903A4-46E6-4893-AFC2-D270D0EA1800}" dt="2021-05-10T13:50:28.335" v="1735" actId="478"/>
          <ac:spMkLst>
            <pc:docMk/>
            <pc:sldMk cId="3386173775" sldId="1630"/>
            <ac:spMk id="2" creationId="{156CF523-1781-40DD-8DBD-0791B3D438DA}"/>
          </ac:spMkLst>
        </pc:spChg>
        <pc:spChg chg="mod">
          <ac:chgData name="Daphnée Rotenbach" userId="7408d6fd-eaeb-47da-89e0-711fd1361cf1" providerId="ADAL" clId="{C9D903A4-46E6-4893-AFC2-D270D0EA1800}" dt="2021-05-10T13:55:51.356" v="1839" actId="1036"/>
          <ac:spMkLst>
            <pc:docMk/>
            <pc:sldMk cId="3386173775" sldId="1630"/>
            <ac:spMk id="3" creationId="{08EC9F62-09EB-4BD4-A706-509F1A744AF3}"/>
          </ac:spMkLst>
        </pc:spChg>
        <pc:spChg chg="del">
          <ac:chgData name="Daphnée Rotenbach" userId="7408d6fd-eaeb-47da-89e0-711fd1361cf1" providerId="ADAL" clId="{C9D903A4-46E6-4893-AFC2-D270D0EA1800}" dt="2021-05-10T13:56:06.352" v="1840" actId="478"/>
          <ac:spMkLst>
            <pc:docMk/>
            <pc:sldMk cId="3386173775" sldId="1630"/>
            <ac:spMk id="5" creationId="{DFC36386-C89D-457F-BA1A-34B052F3F55D}"/>
          </ac:spMkLst>
        </pc:spChg>
        <pc:spChg chg="add del mod">
          <ac:chgData name="Daphnée Rotenbach" userId="7408d6fd-eaeb-47da-89e0-711fd1361cf1" providerId="ADAL" clId="{C9D903A4-46E6-4893-AFC2-D270D0EA1800}" dt="2021-05-10T13:50:32.763" v="1737" actId="478"/>
          <ac:spMkLst>
            <pc:docMk/>
            <pc:sldMk cId="3386173775" sldId="1630"/>
            <ac:spMk id="6" creationId="{6BD4F901-DEC2-4F8A-8C46-CD70A85A7506}"/>
          </ac:spMkLst>
        </pc:spChg>
        <pc:spChg chg="add mod">
          <ac:chgData name="Daphnée Rotenbach" userId="7408d6fd-eaeb-47da-89e0-711fd1361cf1" providerId="ADAL" clId="{C9D903A4-46E6-4893-AFC2-D270D0EA1800}" dt="2021-05-10T14:08:51.114" v="2152" actId="14100"/>
          <ac:spMkLst>
            <pc:docMk/>
            <pc:sldMk cId="3386173775" sldId="1630"/>
            <ac:spMk id="7" creationId="{9787A661-D12D-4B37-896C-E62F5354AF7B}"/>
          </ac:spMkLst>
        </pc:spChg>
        <pc:spChg chg="add mod">
          <ac:chgData name="Daphnée Rotenbach" userId="7408d6fd-eaeb-47da-89e0-711fd1361cf1" providerId="ADAL" clId="{C9D903A4-46E6-4893-AFC2-D270D0EA1800}" dt="2021-05-10T13:52:15.970" v="1765" actId="1076"/>
          <ac:spMkLst>
            <pc:docMk/>
            <pc:sldMk cId="3386173775" sldId="1630"/>
            <ac:spMk id="8" creationId="{184CFA50-6D97-403C-A2BB-D3D9B1925D5D}"/>
          </ac:spMkLst>
        </pc:spChg>
        <pc:spChg chg="add mod">
          <ac:chgData name="Daphnée Rotenbach" userId="7408d6fd-eaeb-47da-89e0-711fd1361cf1" providerId="ADAL" clId="{C9D903A4-46E6-4893-AFC2-D270D0EA1800}" dt="2021-05-10T14:08:51.114" v="2152" actId="14100"/>
          <ac:spMkLst>
            <pc:docMk/>
            <pc:sldMk cId="3386173775" sldId="1630"/>
            <ac:spMk id="11" creationId="{B24C0B44-3D73-4AE6-87C5-21A982969B04}"/>
          </ac:spMkLst>
        </pc:spChg>
        <pc:spChg chg="mod">
          <ac:chgData name="Daphnée Rotenbach" userId="7408d6fd-eaeb-47da-89e0-711fd1361cf1" providerId="ADAL" clId="{C9D903A4-46E6-4893-AFC2-D270D0EA1800}" dt="2021-05-10T13:55:20.651" v="1814" actId="1076"/>
          <ac:spMkLst>
            <pc:docMk/>
            <pc:sldMk cId="3386173775" sldId="1630"/>
            <ac:spMk id="17" creationId="{6472D98B-CD5F-464C-8F66-41D4B16210FA}"/>
          </ac:spMkLst>
        </pc:spChg>
        <pc:picChg chg="del">
          <ac:chgData name="Daphnée Rotenbach" userId="7408d6fd-eaeb-47da-89e0-711fd1361cf1" providerId="ADAL" clId="{C9D903A4-46E6-4893-AFC2-D270D0EA1800}" dt="2021-05-10T10:03:27.855" v="1333" actId="478"/>
          <ac:picMkLst>
            <pc:docMk/>
            <pc:sldMk cId="3386173775" sldId="1630"/>
            <ac:picMk id="65" creationId="{E6383847-4BFA-4DBA-AAFC-C339B6ECA128}"/>
          </ac:picMkLst>
        </pc:picChg>
      </pc:sldChg>
      <pc:sldChg chg="addSp delSp modSp del mod">
        <pc:chgData name="Daphnée Rotenbach" userId="7408d6fd-eaeb-47da-89e0-711fd1361cf1" providerId="ADAL" clId="{C9D903A4-46E6-4893-AFC2-D270D0EA1800}" dt="2021-05-10T10:03:56.151" v="1342" actId="47"/>
        <pc:sldMkLst>
          <pc:docMk/>
          <pc:sldMk cId="378864934" sldId="1631"/>
        </pc:sldMkLst>
        <pc:spChg chg="del">
          <ac:chgData name="Daphnée Rotenbach" userId="7408d6fd-eaeb-47da-89e0-711fd1361cf1" providerId="ADAL" clId="{C9D903A4-46E6-4893-AFC2-D270D0EA1800}" dt="2021-05-10T10:03:37.806" v="1334" actId="478"/>
          <ac:spMkLst>
            <pc:docMk/>
            <pc:sldMk cId="378864934" sldId="1631"/>
            <ac:spMk id="2" creationId="{156CF523-1781-40DD-8DBD-0791B3D438DA}"/>
          </ac:spMkLst>
        </pc:spChg>
        <pc:spChg chg="del">
          <ac:chgData name="Daphnée Rotenbach" userId="7408d6fd-eaeb-47da-89e0-711fd1361cf1" providerId="ADAL" clId="{C9D903A4-46E6-4893-AFC2-D270D0EA1800}" dt="2021-05-10T10:03:37.806" v="1334" actId="478"/>
          <ac:spMkLst>
            <pc:docMk/>
            <pc:sldMk cId="378864934" sldId="1631"/>
            <ac:spMk id="5" creationId="{DFC36386-C89D-457F-BA1A-34B052F3F55D}"/>
          </ac:spMkLst>
        </pc:spChg>
        <pc:spChg chg="add mod">
          <ac:chgData name="Daphnée Rotenbach" userId="7408d6fd-eaeb-47da-89e0-711fd1361cf1" providerId="ADAL" clId="{C9D903A4-46E6-4893-AFC2-D270D0EA1800}" dt="2021-05-10T10:03:37.806" v="1334" actId="478"/>
          <ac:spMkLst>
            <pc:docMk/>
            <pc:sldMk cId="378864934" sldId="1631"/>
            <ac:spMk id="6" creationId="{0B85969F-0FC0-457C-BAE1-3CB80A11F6B0}"/>
          </ac:spMkLst>
        </pc:spChg>
        <pc:picChg chg="del">
          <ac:chgData name="Daphnée Rotenbach" userId="7408d6fd-eaeb-47da-89e0-711fd1361cf1" providerId="ADAL" clId="{C9D903A4-46E6-4893-AFC2-D270D0EA1800}" dt="2021-05-10T10:03:37.806" v="1334" actId="478"/>
          <ac:picMkLst>
            <pc:docMk/>
            <pc:sldMk cId="378864934" sldId="1631"/>
            <ac:picMk id="65" creationId="{E6383847-4BFA-4DBA-AAFC-C339B6ECA128}"/>
          </ac:picMkLst>
        </pc:picChg>
      </pc:sldChg>
      <pc:sldChg chg="del">
        <pc:chgData name="Daphnée Rotenbach" userId="7408d6fd-eaeb-47da-89e0-711fd1361cf1" providerId="ADAL" clId="{C9D903A4-46E6-4893-AFC2-D270D0EA1800}" dt="2021-05-10T10:04:20.408" v="1350" actId="47"/>
        <pc:sldMkLst>
          <pc:docMk/>
          <pc:sldMk cId="794038774" sldId="1632"/>
        </pc:sldMkLst>
      </pc:sldChg>
      <pc:sldChg chg="addSp delSp modSp mod">
        <pc:chgData name="Daphnée Rotenbach" userId="7408d6fd-eaeb-47da-89e0-711fd1361cf1" providerId="ADAL" clId="{C9D903A4-46E6-4893-AFC2-D270D0EA1800}" dt="2021-05-10T14:52:25.266" v="2971" actId="255"/>
        <pc:sldMkLst>
          <pc:docMk/>
          <pc:sldMk cId="3736194387" sldId="1633"/>
        </pc:sldMkLst>
        <pc:spChg chg="del mod">
          <ac:chgData name="Daphnée Rotenbach" userId="7408d6fd-eaeb-47da-89e0-711fd1361cf1" providerId="ADAL" clId="{C9D903A4-46E6-4893-AFC2-D270D0EA1800}" dt="2021-05-10T14:14:55.568" v="2325" actId="478"/>
          <ac:spMkLst>
            <pc:docMk/>
            <pc:sldMk cId="3736194387" sldId="1633"/>
            <ac:spMk id="2" creationId="{156CF523-1781-40DD-8DBD-0791B3D438DA}"/>
          </ac:spMkLst>
        </pc:spChg>
        <pc:spChg chg="mod">
          <ac:chgData name="Daphnée Rotenbach" userId="7408d6fd-eaeb-47da-89e0-711fd1361cf1" providerId="ADAL" clId="{C9D903A4-46E6-4893-AFC2-D270D0EA1800}" dt="2021-05-10T14:24:54.667" v="2491" actId="20577"/>
          <ac:spMkLst>
            <pc:docMk/>
            <pc:sldMk cId="3736194387" sldId="1633"/>
            <ac:spMk id="3" creationId="{08EC9F62-09EB-4BD4-A706-509F1A744AF3}"/>
          </ac:spMkLst>
        </pc:spChg>
        <pc:spChg chg="mod">
          <ac:chgData name="Daphnée Rotenbach" userId="7408d6fd-eaeb-47da-89e0-711fd1361cf1" providerId="ADAL" clId="{C9D903A4-46E6-4893-AFC2-D270D0EA1800}" dt="2021-05-10T14:25:11.677" v="2498" actId="1036"/>
          <ac:spMkLst>
            <pc:docMk/>
            <pc:sldMk cId="3736194387" sldId="1633"/>
            <ac:spMk id="5" creationId="{DFC36386-C89D-457F-BA1A-34B052F3F55D}"/>
          </ac:spMkLst>
        </pc:spChg>
        <pc:spChg chg="add del mod">
          <ac:chgData name="Daphnée Rotenbach" userId="7408d6fd-eaeb-47da-89e0-711fd1361cf1" providerId="ADAL" clId="{C9D903A4-46E6-4893-AFC2-D270D0EA1800}" dt="2021-05-10T14:14:57.143" v="2326" actId="478"/>
          <ac:spMkLst>
            <pc:docMk/>
            <pc:sldMk cId="3736194387" sldId="1633"/>
            <ac:spMk id="6" creationId="{1EC4637C-8218-4B28-82FB-3EC2BCCA5256}"/>
          </ac:spMkLst>
        </pc:spChg>
        <pc:spChg chg="add mod">
          <ac:chgData name="Daphnée Rotenbach" userId="7408d6fd-eaeb-47da-89e0-711fd1361cf1" providerId="ADAL" clId="{C9D903A4-46E6-4893-AFC2-D270D0EA1800}" dt="2021-05-10T14:25:11.677" v="2498" actId="1036"/>
          <ac:spMkLst>
            <pc:docMk/>
            <pc:sldMk cId="3736194387" sldId="1633"/>
            <ac:spMk id="7" creationId="{31645841-03C1-42C5-BC83-4EE7309AB54D}"/>
          </ac:spMkLst>
        </pc:spChg>
        <pc:spChg chg="add mod">
          <ac:chgData name="Daphnée Rotenbach" userId="7408d6fd-eaeb-47da-89e0-711fd1361cf1" providerId="ADAL" clId="{C9D903A4-46E6-4893-AFC2-D270D0EA1800}" dt="2021-05-10T14:25:11.677" v="2498" actId="1036"/>
          <ac:spMkLst>
            <pc:docMk/>
            <pc:sldMk cId="3736194387" sldId="1633"/>
            <ac:spMk id="10" creationId="{59D9DF0B-C956-407B-8141-849F10FEF06A}"/>
          </ac:spMkLst>
        </pc:spChg>
        <pc:spChg chg="add mod">
          <ac:chgData name="Daphnée Rotenbach" userId="7408d6fd-eaeb-47da-89e0-711fd1361cf1" providerId="ADAL" clId="{C9D903A4-46E6-4893-AFC2-D270D0EA1800}" dt="2021-05-10T14:52:25.266" v="2971" actId="255"/>
          <ac:spMkLst>
            <pc:docMk/>
            <pc:sldMk cId="3736194387" sldId="1633"/>
            <ac:spMk id="11" creationId="{F32A7D6C-0E19-4CF1-9E60-44BC93F47F48}"/>
          </ac:spMkLst>
        </pc:spChg>
        <pc:spChg chg="mod">
          <ac:chgData name="Daphnée Rotenbach" userId="7408d6fd-eaeb-47da-89e0-711fd1361cf1" providerId="ADAL" clId="{C9D903A4-46E6-4893-AFC2-D270D0EA1800}" dt="2021-05-10T14:17:54.630" v="2359" actId="1076"/>
          <ac:spMkLst>
            <pc:docMk/>
            <pc:sldMk cId="3736194387" sldId="1633"/>
            <ac:spMk id="17" creationId="{6472D98B-CD5F-464C-8F66-41D4B16210FA}"/>
          </ac:spMkLst>
        </pc:spChg>
        <pc:picChg chg="del">
          <ac:chgData name="Daphnée Rotenbach" userId="7408d6fd-eaeb-47da-89e0-711fd1361cf1" providerId="ADAL" clId="{C9D903A4-46E6-4893-AFC2-D270D0EA1800}" dt="2021-05-10T14:15:01.666" v="2329" actId="478"/>
          <ac:picMkLst>
            <pc:docMk/>
            <pc:sldMk cId="3736194387" sldId="1633"/>
            <ac:picMk id="65" creationId="{E6383847-4BFA-4DBA-AAFC-C339B6ECA128}"/>
          </ac:picMkLst>
        </pc:picChg>
      </pc:sldChg>
      <pc:sldChg chg="modSp del mod">
        <pc:chgData name="Daphnée Rotenbach" userId="7408d6fd-eaeb-47da-89e0-711fd1361cf1" providerId="ADAL" clId="{C9D903A4-46E6-4893-AFC2-D270D0EA1800}" dt="2021-05-10T14:17:45.997" v="2357" actId="47"/>
        <pc:sldMkLst>
          <pc:docMk/>
          <pc:sldMk cId="974490593" sldId="1634"/>
        </pc:sldMkLst>
        <pc:spChg chg="mod">
          <ac:chgData name="Daphnée Rotenbach" userId="7408d6fd-eaeb-47da-89e0-711fd1361cf1" providerId="ADAL" clId="{C9D903A4-46E6-4893-AFC2-D270D0EA1800}" dt="2021-05-10T14:17:41.417" v="2355" actId="207"/>
          <ac:spMkLst>
            <pc:docMk/>
            <pc:sldMk cId="974490593" sldId="1634"/>
            <ac:spMk id="3" creationId="{08EC9F62-09EB-4BD4-A706-509F1A744AF3}"/>
          </ac:spMkLst>
        </pc:spChg>
      </pc:sldChg>
      <pc:sldChg chg="addSp delSp modSp add del mod">
        <pc:chgData name="Daphnée Rotenbach" userId="7408d6fd-eaeb-47da-89e0-711fd1361cf1" providerId="ADAL" clId="{C9D903A4-46E6-4893-AFC2-D270D0EA1800}" dt="2021-05-10T09:40:01.501" v="1149" actId="47"/>
        <pc:sldMkLst>
          <pc:docMk/>
          <pc:sldMk cId="4034896982" sldId="1635"/>
        </pc:sldMkLst>
        <pc:spChg chg="mod">
          <ac:chgData name="Daphnée Rotenbach" userId="7408d6fd-eaeb-47da-89e0-711fd1361cf1" providerId="ADAL" clId="{C9D903A4-46E6-4893-AFC2-D270D0EA1800}" dt="2021-05-10T07:59:52.655" v="452" actId="1076"/>
          <ac:spMkLst>
            <pc:docMk/>
            <pc:sldMk cId="4034896982" sldId="1635"/>
            <ac:spMk id="4" creationId="{398C761B-82B2-474C-B368-C72E8928DA2D}"/>
          </ac:spMkLst>
        </pc:spChg>
        <pc:spChg chg="add del">
          <ac:chgData name="Daphnée Rotenbach" userId="7408d6fd-eaeb-47da-89e0-711fd1361cf1" providerId="ADAL" clId="{C9D903A4-46E6-4893-AFC2-D270D0EA1800}" dt="2021-05-10T07:55:36.390" v="405" actId="478"/>
          <ac:spMkLst>
            <pc:docMk/>
            <pc:sldMk cId="4034896982" sldId="1635"/>
            <ac:spMk id="6" creationId="{BED00D8A-5FA5-4D09-8795-3CA9F4DDF306}"/>
          </ac:spMkLst>
        </pc:spChg>
        <pc:spChg chg="add del mod">
          <ac:chgData name="Daphnée Rotenbach" userId="7408d6fd-eaeb-47da-89e0-711fd1361cf1" providerId="ADAL" clId="{C9D903A4-46E6-4893-AFC2-D270D0EA1800}" dt="2021-05-10T07:55:39.111" v="407" actId="478"/>
          <ac:spMkLst>
            <pc:docMk/>
            <pc:sldMk cId="4034896982" sldId="1635"/>
            <ac:spMk id="7" creationId="{F4D3E24F-2C7D-417E-BB32-674DCF459EE7}"/>
          </ac:spMkLst>
        </pc:spChg>
        <pc:spChg chg="add mod">
          <ac:chgData name="Daphnée Rotenbach" userId="7408d6fd-eaeb-47da-89e0-711fd1361cf1" providerId="ADAL" clId="{C9D903A4-46E6-4893-AFC2-D270D0EA1800}" dt="2021-05-10T07:59:37.563" v="451" actId="207"/>
          <ac:spMkLst>
            <pc:docMk/>
            <pc:sldMk cId="4034896982" sldId="1635"/>
            <ac:spMk id="8" creationId="{20673618-C0A0-4425-B910-7DD208FB28C2}"/>
          </ac:spMkLst>
        </pc:spChg>
        <pc:picChg chg="del">
          <ac:chgData name="Daphnée Rotenbach" userId="7408d6fd-eaeb-47da-89e0-711fd1361cf1" providerId="ADAL" clId="{C9D903A4-46E6-4893-AFC2-D270D0EA1800}" dt="2021-05-10T07:55:19.963" v="404" actId="478"/>
          <ac:picMkLst>
            <pc:docMk/>
            <pc:sldMk cId="4034896982" sldId="1635"/>
            <ac:picMk id="3" creationId="{09405BB4-ADFE-4D69-9BC2-7C1EE6744BAF}"/>
          </ac:picMkLst>
        </pc:picChg>
      </pc:sldChg>
      <pc:sldChg chg="add del">
        <pc:chgData name="Daphnée Rotenbach" userId="7408d6fd-eaeb-47da-89e0-711fd1361cf1" providerId="ADAL" clId="{C9D903A4-46E6-4893-AFC2-D270D0EA1800}" dt="2021-05-10T07:58:31.527" v="432" actId="47"/>
        <pc:sldMkLst>
          <pc:docMk/>
          <pc:sldMk cId="2063228230" sldId="1636"/>
        </pc:sldMkLst>
      </pc:sldChg>
      <pc:sldChg chg="addSp delSp modSp mod">
        <pc:chgData name="Daphnée Rotenbach" userId="7408d6fd-eaeb-47da-89e0-711fd1361cf1" providerId="ADAL" clId="{C9D903A4-46E6-4893-AFC2-D270D0EA1800}" dt="2021-05-10T14:55:03.931" v="2974" actId="20577"/>
        <pc:sldMkLst>
          <pc:docMk/>
          <pc:sldMk cId="3966069191" sldId="1636"/>
        </pc:sldMkLst>
        <pc:spChg chg="del mod">
          <ac:chgData name="Daphnée Rotenbach" userId="7408d6fd-eaeb-47da-89e0-711fd1361cf1" providerId="ADAL" clId="{C9D903A4-46E6-4893-AFC2-D270D0EA1800}" dt="2021-05-10T11:03:55.868" v="1511" actId="478"/>
          <ac:spMkLst>
            <pc:docMk/>
            <pc:sldMk cId="3966069191" sldId="1636"/>
            <ac:spMk id="4" creationId="{398C761B-82B2-474C-B368-C72E8928DA2D}"/>
          </ac:spMkLst>
        </pc:spChg>
        <pc:spChg chg="add mod">
          <ac:chgData name="Daphnée Rotenbach" userId="7408d6fd-eaeb-47da-89e0-711fd1361cf1" providerId="ADAL" clId="{C9D903A4-46E6-4893-AFC2-D270D0EA1800}" dt="2021-05-10T11:04:54.159" v="1544" actId="14100"/>
          <ac:spMkLst>
            <pc:docMk/>
            <pc:sldMk cId="3966069191" sldId="1636"/>
            <ac:spMk id="6" creationId="{91F3AAFB-D9F6-422B-B1BE-D7820A1ED955}"/>
          </ac:spMkLst>
        </pc:spChg>
        <pc:spChg chg="mod">
          <ac:chgData name="Daphnée Rotenbach" userId="7408d6fd-eaeb-47da-89e0-711fd1361cf1" providerId="ADAL" clId="{C9D903A4-46E6-4893-AFC2-D270D0EA1800}" dt="2021-05-10T14:55:03.931" v="2974" actId="20577"/>
          <ac:spMkLst>
            <pc:docMk/>
            <pc:sldMk cId="3966069191" sldId="1636"/>
            <ac:spMk id="8" creationId="{20673618-C0A0-4425-B910-7DD208FB28C2}"/>
          </ac:spMkLst>
        </pc:spChg>
        <pc:picChg chg="add del mod">
          <ac:chgData name="Daphnée Rotenbach" userId="7408d6fd-eaeb-47da-89e0-711fd1361cf1" providerId="ADAL" clId="{C9D903A4-46E6-4893-AFC2-D270D0EA1800}" dt="2021-05-10T11:18:36.850" v="1575" actId="478"/>
          <ac:picMkLst>
            <pc:docMk/>
            <pc:sldMk cId="3966069191" sldId="1636"/>
            <ac:picMk id="7" creationId="{764C5F5B-DFCC-4566-833E-94E5CEB15229}"/>
          </ac:picMkLst>
        </pc:picChg>
      </pc:sldChg>
      <pc:sldChg chg="addSp delSp modSp mod">
        <pc:chgData name="Daphnée Rotenbach" userId="7408d6fd-eaeb-47da-89e0-711fd1361cf1" providerId="ADAL" clId="{C9D903A4-46E6-4893-AFC2-D270D0EA1800}" dt="2021-05-10T14:13:39.420" v="2297" actId="14100"/>
        <pc:sldMkLst>
          <pc:docMk/>
          <pc:sldMk cId="709728827" sldId="1637"/>
        </pc:sldMkLst>
        <pc:spChg chg="del mod">
          <ac:chgData name="Daphnée Rotenbach" userId="7408d6fd-eaeb-47da-89e0-711fd1361cf1" providerId="ADAL" clId="{C9D903A4-46E6-4893-AFC2-D270D0EA1800}" dt="2021-05-10T14:04:45.682" v="2095" actId="478"/>
          <ac:spMkLst>
            <pc:docMk/>
            <pc:sldMk cId="709728827" sldId="1637"/>
            <ac:spMk id="2" creationId="{156CF523-1781-40DD-8DBD-0791B3D438DA}"/>
          </ac:spMkLst>
        </pc:spChg>
        <pc:spChg chg="del mod">
          <ac:chgData name="Daphnée Rotenbach" userId="7408d6fd-eaeb-47da-89e0-711fd1361cf1" providerId="ADAL" clId="{C9D903A4-46E6-4893-AFC2-D270D0EA1800}" dt="2021-05-10T14:07:03.008" v="2119" actId="478"/>
          <ac:spMkLst>
            <pc:docMk/>
            <pc:sldMk cId="709728827" sldId="1637"/>
            <ac:spMk id="3" creationId="{08EC9F62-09EB-4BD4-A706-509F1A744AF3}"/>
          </ac:spMkLst>
        </pc:spChg>
        <pc:spChg chg="add del mod">
          <ac:chgData name="Daphnée Rotenbach" userId="7408d6fd-eaeb-47da-89e0-711fd1361cf1" providerId="ADAL" clId="{C9D903A4-46E6-4893-AFC2-D270D0EA1800}" dt="2021-05-10T14:04:47.411" v="2096" actId="478"/>
          <ac:spMkLst>
            <pc:docMk/>
            <pc:sldMk cId="709728827" sldId="1637"/>
            <ac:spMk id="6" creationId="{7089B344-DEDF-44D1-BBF9-AB62B6A591A5}"/>
          </ac:spMkLst>
        </pc:spChg>
        <pc:spChg chg="add mod">
          <ac:chgData name="Daphnée Rotenbach" userId="7408d6fd-eaeb-47da-89e0-711fd1361cf1" providerId="ADAL" clId="{C9D903A4-46E6-4893-AFC2-D270D0EA1800}" dt="2021-05-10T14:04:48.827" v="2098" actId="20577"/>
          <ac:spMkLst>
            <pc:docMk/>
            <pc:sldMk cId="709728827" sldId="1637"/>
            <ac:spMk id="7" creationId="{64815B41-FBCC-4F62-ACED-64CB7AB24462}"/>
          </ac:spMkLst>
        </pc:spChg>
        <pc:spChg chg="add del mod">
          <ac:chgData name="Daphnée Rotenbach" userId="7408d6fd-eaeb-47da-89e0-711fd1361cf1" providerId="ADAL" clId="{C9D903A4-46E6-4893-AFC2-D270D0EA1800}" dt="2021-05-10T14:07:05.500" v="2120" actId="478"/>
          <ac:spMkLst>
            <pc:docMk/>
            <pc:sldMk cId="709728827" sldId="1637"/>
            <ac:spMk id="9" creationId="{397BF980-F8E2-4BAF-A4E4-B5209B4B6159}"/>
          </ac:spMkLst>
        </pc:spChg>
        <pc:spChg chg="add mod">
          <ac:chgData name="Daphnée Rotenbach" userId="7408d6fd-eaeb-47da-89e0-711fd1361cf1" providerId="ADAL" clId="{C9D903A4-46E6-4893-AFC2-D270D0EA1800}" dt="2021-05-10T14:11:45.350" v="2203" actId="1037"/>
          <ac:spMkLst>
            <pc:docMk/>
            <pc:sldMk cId="709728827" sldId="1637"/>
            <ac:spMk id="10" creationId="{B91384D0-0D71-4485-AE4B-32C063CD9895}"/>
          </ac:spMkLst>
        </pc:spChg>
        <pc:spChg chg="add mod">
          <ac:chgData name="Daphnée Rotenbach" userId="7408d6fd-eaeb-47da-89e0-711fd1361cf1" providerId="ADAL" clId="{C9D903A4-46E6-4893-AFC2-D270D0EA1800}" dt="2021-05-10T14:13:39.420" v="2297" actId="14100"/>
          <ac:spMkLst>
            <pc:docMk/>
            <pc:sldMk cId="709728827" sldId="1637"/>
            <ac:spMk id="11" creationId="{1FF2C508-9F68-45DB-9B32-E4BE2D523A4A}"/>
          </ac:spMkLst>
        </pc:spChg>
        <pc:spChg chg="mod">
          <ac:chgData name="Daphnée Rotenbach" userId="7408d6fd-eaeb-47da-89e0-711fd1361cf1" providerId="ADAL" clId="{C9D903A4-46E6-4893-AFC2-D270D0EA1800}" dt="2021-05-10T14:03:50.784" v="2079" actId="1076"/>
          <ac:spMkLst>
            <pc:docMk/>
            <pc:sldMk cId="709728827" sldId="1637"/>
            <ac:spMk id="17" creationId="{6472D98B-CD5F-464C-8F66-41D4B16210FA}"/>
          </ac:spMkLst>
        </pc:spChg>
        <pc:picChg chg="del">
          <ac:chgData name="Daphnée Rotenbach" userId="7408d6fd-eaeb-47da-89e0-711fd1361cf1" providerId="ADAL" clId="{C9D903A4-46E6-4893-AFC2-D270D0EA1800}" dt="2021-05-10T14:03:35.603" v="2073" actId="478"/>
          <ac:picMkLst>
            <pc:docMk/>
            <pc:sldMk cId="709728827" sldId="1637"/>
            <ac:picMk id="65" creationId="{E6383847-4BFA-4DBA-AAFC-C339B6ECA128}"/>
          </ac:picMkLst>
        </pc:picChg>
      </pc:sldChg>
      <pc:sldChg chg="addSp delSp modSp mod">
        <pc:chgData name="Daphnée Rotenbach" userId="7408d6fd-eaeb-47da-89e0-711fd1361cf1" providerId="ADAL" clId="{C9D903A4-46E6-4893-AFC2-D270D0EA1800}" dt="2021-05-10T14:09:00.712" v="2153" actId="1076"/>
        <pc:sldMkLst>
          <pc:docMk/>
          <pc:sldMk cId="4215045609" sldId="1638"/>
        </pc:sldMkLst>
        <pc:spChg chg="add del">
          <ac:chgData name="Daphnée Rotenbach" userId="7408d6fd-eaeb-47da-89e0-711fd1361cf1" providerId="ADAL" clId="{C9D903A4-46E6-4893-AFC2-D270D0EA1800}" dt="2021-05-10T10:04:07.122" v="1345" actId="478"/>
          <ac:spMkLst>
            <pc:docMk/>
            <pc:sldMk cId="4215045609" sldId="1638"/>
            <ac:spMk id="2" creationId="{156CF523-1781-40DD-8DBD-0791B3D438DA}"/>
          </ac:spMkLst>
        </pc:spChg>
        <pc:spChg chg="del mod">
          <ac:chgData name="Daphnée Rotenbach" userId="7408d6fd-eaeb-47da-89e0-711fd1361cf1" providerId="ADAL" clId="{C9D903A4-46E6-4893-AFC2-D270D0EA1800}" dt="2021-05-10T14:00:10.367" v="1973" actId="478"/>
          <ac:spMkLst>
            <pc:docMk/>
            <pc:sldMk cId="4215045609" sldId="1638"/>
            <ac:spMk id="3" creationId="{08EC9F62-09EB-4BD4-A706-509F1A744AF3}"/>
          </ac:spMkLst>
        </pc:spChg>
        <pc:spChg chg="add del">
          <ac:chgData name="Daphnée Rotenbach" userId="7408d6fd-eaeb-47da-89e0-711fd1361cf1" providerId="ADAL" clId="{C9D903A4-46E6-4893-AFC2-D270D0EA1800}" dt="2021-05-10T10:04:07.122" v="1345" actId="478"/>
          <ac:spMkLst>
            <pc:docMk/>
            <pc:sldMk cId="4215045609" sldId="1638"/>
            <ac:spMk id="5" creationId="{DFC36386-C89D-457F-BA1A-34B052F3F55D}"/>
          </ac:spMkLst>
        </pc:spChg>
        <pc:spChg chg="add del mod">
          <ac:chgData name="Daphnée Rotenbach" userId="7408d6fd-eaeb-47da-89e0-711fd1361cf1" providerId="ADAL" clId="{C9D903A4-46E6-4893-AFC2-D270D0EA1800}" dt="2021-05-10T10:04:08.580" v="1346" actId="478"/>
          <ac:spMkLst>
            <pc:docMk/>
            <pc:sldMk cId="4215045609" sldId="1638"/>
            <ac:spMk id="6" creationId="{0684E0E1-BB50-466C-A090-92423DC2C020}"/>
          </ac:spMkLst>
        </pc:spChg>
        <pc:spChg chg="add del mod">
          <ac:chgData name="Daphnée Rotenbach" userId="7408d6fd-eaeb-47da-89e0-711fd1361cf1" providerId="ADAL" clId="{C9D903A4-46E6-4893-AFC2-D270D0EA1800}" dt="2021-05-10T14:00:12.592" v="1974" actId="478"/>
          <ac:spMkLst>
            <pc:docMk/>
            <pc:sldMk cId="4215045609" sldId="1638"/>
            <ac:spMk id="8" creationId="{FB365130-3087-4DBF-AA7A-D6021B336B2F}"/>
          </ac:spMkLst>
        </pc:spChg>
        <pc:spChg chg="add del mod">
          <ac:chgData name="Daphnée Rotenbach" userId="7408d6fd-eaeb-47da-89e0-711fd1361cf1" providerId="ADAL" clId="{C9D903A4-46E6-4893-AFC2-D270D0EA1800}" dt="2021-05-10T14:02:09.383" v="2035" actId="478"/>
          <ac:spMkLst>
            <pc:docMk/>
            <pc:sldMk cId="4215045609" sldId="1638"/>
            <ac:spMk id="9" creationId="{D1E34856-2277-4997-A04B-180DD04B1DF8}"/>
          </ac:spMkLst>
        </pc:spChg>
        <pc:spChg chg="add mod">
          <ac:chgData name="Daphnée Rotenbach" userId="7408d6fd-eaeb-47da-89e0-711fd1361cf1" providerId="ADAL" clId="{C9D903A4-46E6-4893-AFC2-D270D0EA1800}" dt="2021-05-10T14:09:00.712" v="2153" actId="1076"/>
          <ac:spMkLst>
            <pc:docMk/>
            <pc:sldMk cId="4215045609" sldId="1638"/>
            <ac:spMk id="10" creationId="{7D35270C-3E28-4F13-8915-546B0CD2D81E}"/>
          </ac:spMkLst>
        </pc:spChg>
        <pc:spChg chg="add mod">
          <ac:chgData name="Daphnée Rotenbach" userId="7408d6fd-eaeb-47da-89e0-711fd1361cf1" providerId="ADAL" clId="{C9D903A4-46E6-4893-AFC2-D270D0EA1800}" dt="2021-05-10T14:09:00.712" v="2153" actId="1076"/>
          <ac:spMkLst>
            <pc:docMk/>
            <pc:sldMk cId="4215045609" sldId="1638"/>
            <ac:spMk id="11" creationId="{A62B583A-0D76-4C0F-87A8-7AEFE606042A}"/>
          </ac:spMkLst>
        </pc:spChg>
        <pc:spChg chg="add mod">
          <ac:chgData name="Daphnée Rotenbach" userId="7408d6fd-eaeb-47da-89e0-711fd1361cf1" providerId="ADAL" clId="{C9D903A4-46E6-4893-AFC2-D270D0EA1800}" dt="2021-05-10T14:09:00.712" v="2153" actId="1076"/>
          <ac:spMkLst>
            <pc:docMk/>
            <pc:sldMk cId="4215045609" sldId="1638"/>
            <ac:spMk id="12" creationId="{67B41033-1A4D-4FFD-B9FC-A8725B8CDFDD}"/>
          </ac:spMkLst>
        </pc:spChg>
        <pc:spChg chg="add mod">
          <ac:chgData name="Daphnée Rotenbach" userId="7408d6fd-eaeb-47da-89e0-711fd1361cf1" providerId="ADAL" clId="{C9D903A4-46E6-4893-AFC2-D270D0EA1800}" dt="2021-05-10T14:09:00.712" v="2153" actId="1076"/>
          <ac:spMkLst>
            <pc:docMk/>
            <pc:sldMk cId="4215045609" sldId="1638"/>
            <ac:spMk id="13" creationId="{7603BF54-B123-486B-89A2-9EEC36F1193C}"/>
          </ac:spMkLst>
        </pc:spChg>
        <pc:spChg chg="mod">
          <ac:chgData name="Daphnée Rotenbach" userId="7408d6fd-eaeb-47da-89e0-711fd1361cf1" providerId="ADAL" clId="{C9D903A4-46E6-4893-AFC2-D270D0EA1800}" dt="2021-05-10T14:02:35.033" v="2047" actId="1076"/>
          <ac:spMkLst>
            <pc:docMk/>
            <pc:sldMk cId="4215045609" sldId="1638"/>
            <ac:spMk id="17" creationId="{6472D98B-CD5F-464C-8F66-41D4B16210FA}"/>
          </ac:spMkLst>
        </pc:spChg>
        <pc:picChg chg="add del">
          <ac:chgData name="Daphnée Rotenbach" userId="7408d6fd-eaeb-47da-89e0-711fd1361cf1" providerId="ADAL" clId="{C9D903A4-46E6-4893-AFC2-D270D0EA1800}" dt="2021-05-10T10:04:07.122" v="1345" actId="478"/>
          <ac:picMkLst>
            <pc:docMk/>
            <pc:sldMk cId="4215045609" sldId="1638"/>
            <ac:picMk id="65" creationId="{E6383847-4BFA-4DBA-AAFC-C339B6ECA128}"/>
          </ac:picMkLst>
        </pc:picChg>
      </pc:sldChg>
      <pc:sldChg chg="modSp add mod">
        <pc:chgData name="Daphnée Rotenbach" userId="7408d6fd-eaeb-47da-89e0-711fd1361cf1" providerId="ADAL" clId="{C9D903A4-46E6-4893-AFC2-D270D0EA1800}" dt="2021-05-10T11:17:44.096" v="1567"/>
        <pc:sldMkLst>
          <pc:docMk/>
          <pc:sldMk cId="2790277159" sldId="1639"/>
        </pc:sldMkLst>
        <pc:spChg chg="mod">
          <ac:chgData name="Daphnée Rotenbach" userId="7408d6fd-eaeb-47da-89e0-711fd1361cf1" providerId="ADAL" clId="{C9D903A4-46E6-4893-AFC2-D270D0EA1800}" dt="2021-05-10T11:17:44.096" v="1567"/>
          <ac:spMkLst>
            <pc:docMk/>
            <pc:sldMk cId="2790277159" sldId="1639"/>
            <ac:spMk id="8" creationId="{104CB144-5DD3-43CE-B8A0-9676BBED4B39}"/>
          </ac:spMkLst>
        </pc:spChg>
      </pc:sldChg>
      <pc:sldChg chg="modSp add mod">
        <pc:chgData name="Daphnée Rotenbach" userId="7408d6fd-eaeb-47da-89e0-711fd1361cf1" providerId="ADAL" clId="{C9D903A4-46E6-4893-AFC2-D270D0EA1800}" dt="2021-05-10T11:30:03.455" v="1694" actId="20577"/>
        <pc:sldMkLst>
          <pc:docMk/>
          <pc:sldMk cId="1227674771" sldId="1640"/>
        </pc:sldMkLst>
        <pc:spChg chg="mod">
          <ac:chgData name="Daphnée Rotenbach" userId="7408d6fd-eaeb-47da-89e0-711fd1361cf1" providerId="ADAL" clId="{C9D903A4-46E6-4893-AFC2-D270D0EA1800}" dt="2021-05-10T11:30:03.455" v="1694" actId="20577"/>
          <ac:spMkLst>
            <pc:docMk/>
            <pc:sldMk cId="1227674771" sldId="1640"/>
            <ac:spMk id="4" creationId="{8A88A47E-A267-404A-9B1D-04E26DBAFF07}"/>
          </ac:spMkLst>
        </pc:spChg>
      </pc:sldChg>
      <pc:sldChg chg="delSp modSp add del mod">
        <pc:chgData name="Daphnée Rotenbach" userId="7408d6fd-eaeb-47da-89e0-711fd1361cf1" providerId="ADAL" clId="{C9D903A4-46E6-4893-AFC2-D270D0EA1800}" dt="2021-05-10T12:51:47.312" v="1711" actId="47"/>
        <pc:sldMkLst>
          <pc:docMk/>
          <pc:sldMk cId="3967541880" sldId="1641"/>
        </pc:sldMkLst>
        <pc:spChg chg="mod">
          <ac:chgData name="Daphnée Rotenbach" userId="7408d6fd-eaeb-47da-89e0-711fd1361cf1" providerId="ADAL" clId="{C9D903A4-46E6-4893-AFC2-D270D0EA1800}" dt="2021-05-10T11:21:11.541" v="1593" actId="1037"/>
          <ac:spMkLst>
            <pc:docMk/>
            <pc:sldMk cId="3967541880" sldId="1641"/>
            <ac:spMk id="3" creationId="{B297F5A3-163D-43EF-B0C8-05A3D440C2BD}"/>
          </ac:spMkLst>
        </pc:spChg>
        <pc:spChg chg="mod">
          <ac:chgData name="Daphnée Rotenbach" userId="7408d6fd-eaeb-47da-89e0-711fd1361cf1" providerId="ADAL" clId="{C9D903A4-46E6-4893-AFC2-D270D0EA1800}" dt="2021-05-10T11:21:11.541" v="1593" actId="1037"/>
          <ac:spMkLst>
            <pc:docMk/>
            <pc:sldMk cId="3967541880" sldId="1641"/>
            <ac:spMk id="5" creationId="{0EC52AFC-7CBA-46F3-B8BB-A3D2BE2F9F16}"/>
          </ac:spMkLst>
        </pc:spChg>
        <pc:spChg chg="mod">
          <ac:chgData name="Daphnée Rotenbach" userId="7408d6fd-eaeb-47da-89e0-711fd1361cf1" providerId="ADAL" clId="{C9D903A4-46E6-4893-AFC2-D270D0EA1800}" dt="2021-05-10T11:21:11.541" v="1593" actId="1037"/>
          <ac:spMkLst>
            <pc:docMk/>
            <pc:sldMk cId="3967541880" sldId="1641"/>
            <ac:spMk id="7" creationId="{DDB66ACF-7C45-4A65-946D-AE12A9384959}"/>
          </ac:spMkLst>
        </pc:spChg>
        <pc:spChg chg="mod">
          <ac:chgData name="Daphnée Rotenbach" userId="7408d6fd-eaeb-47da-89e0-711fd1361cf1" providerId="ADAL" clId="{C9D903A4-46E6-4893-AFC2-D270D0EA1800}" dt="2021-05-10T11:22:38.398" v="1642" actId="1076"/>
          <ac:spMkLst>
            <pc:docMk/>
            <pc:sldMk cId="3967541880" sldId="1641"/>
            <ac:spMk id="8" creationId="{104CB144-5DD3-43CE-B8A0-9676BBED4B39}"/>
          </ac:spMkLst>
        </pc:spChg>
        <pc:spChg chg="mod">
          <ac:chgData name="Daphnée Rotenbach" userId="7408d6fd-eaeb-47da-89e0-711fd1361cf1" providerId="ADAL" clId="{C9D903A4-46E6-4893-AFC2-D270D0EA1800}" dt="2021-05-10T11:21:11.541" v="1593" actId="1037"/>
          <ac:spMkLst>
            <pc:docMk/>
            <pc:sldMk cId="3967541880" sldId="1641"/>
            <ac:spMk id="9" creationId="{02DB318A-D26F-475D-9FD3-19C3CD16A13C}"/>
          </ac:spMkLst>
        </pc:spChg>
        <pc:spChg chg="del">
          <ac:chgData name="Daphnée Rotenbach" userId="7408d6fd-eaeb-47da-89e0-711fd1361cf1" providerId="ADAL" clId="{C9D903A4-46E6-4893-AFC2-D270D0EA1800}" dt="2021-05-10T11:20:34.692" v="1582" actId="478"/>
          <ac:spMkLst>
            <pc:docMk/>
            <pc:sldMk cId="3967541880" sldId="1641"/>
            <ac:spMk id="10" creationId="{86A2524B-1788-4158-94EF-A70CD68E93D4}"/>
          </ac:spMkLst>
        </pc:spChg>
        <pc:spChg chg="del">
          <ac:chgData name="Daphnée Rotenbach" userId="7408d6fd-eaeb-47da-89e0-711fd1361cf1" providerId="ADAL" clId="{C9D903A4-46E6-4893-AFC2-D270D0EA1800}" dt="2021-05-10T11:20:34.692" v="1582" actId="478"/>
          <ac:spMkLst>
            <pc:docMk/>
            <pc:sldMk cId="3967541880" sldId="1641"/>
            <ac:spMk id="11" creationId="{85B3D98B-8160-4FAD-9334-2F1CDA8786EB}"/>
          </ac:spMkLst>
        </pc:spChg>
        <pc:spChg chg="mod">
          <ac:chgData name="Daphnée Rotenbach" userId="7408d6fd-eaeb-47da-89e0-711fd1361cf1" providerId="ADAL" clId="{C9D903A4-46E6-4893-AFC2-D270D0EA1800}" dt="2021-05-10T11:22:43.710" v="1643" actId="1076"/>
          <ac:spMkLst>
            <pc:docMk/>
            <pc:sldMk cId="3967541880" sldId="1641"/>
            <ac:spMk id="13" creationId="{F7EA6E66-D401-4A1A-BB1E-D1EE3D23B4BF}"/>
          </ac:spMkLst>
        </pc:spChg>
        <pc:spChg chg="del">
          <ac:chgData name="Daphnée Rotenbach" userId="7408d6fd-eaeb-47da-89e0-711fd1361cf1" providerId="ADAL" clId="{C9D903A4-46E6-4893-AFC2-D270D0EA1800}" dt="2021-05-10T11:20:34.692" v="1582" actId="478"/>
          <ac:spMkLst>
            <pc:docMk/>
            <pc:sldMk cId="3967541880" sldId="1641"/>
            <ac:spMk id="14" creationId="{ABCAD4BE-96B8-4ED0-960E-E3F4510A80D8}"/>
          </ac:spMkLst>
        </pc:spChg>
        <pc:spChg chg="del">
          <ac:chgData name="Daphnée Rotenbach" userId="7408d6fd-eaeb-47da-89e0-711fd1361cf1" providerId="ADAL" clId="{C9D903A4-46E6-4893-AFC2-D270D0EA1800}" dt="2021-05-10T11:20:34.692" v="1582" actId="478"/>
          <ac:spMkLst>
            <pc:docMk/>
            <pc:sldMk cId="3967541880" sldId="1641"/>
            <ac:spMk id="15" creationId="{76AF5837-2945-4164-9E93-F6466AB34476}"/>
          </ac:spMkLst>
        </pc:spChg>
        <pc:spChg chg="mod">
          <ac:chgData name="Daphnée Rotenbach" userId="7408d6fd-eaeb-47da-89e0-711fd1361cf1" providerId="ADAL" clId="{C9D903A4-46E6-4893-AFC2-D270D0EA1800}" dt="2021-05-10T11:22:48.629" v="1644" actId="1076"/>
          <ac:spMkLst>
            <pc:docMk/>
            <pc:sldMk cId="3967541880" sldId="1641"/>
            <ac:spMk id="16" creationId="{FA2AAE23-52A8-47BC-A9B8-29B67195DDC9}"/>
          </ac:spMkLst>
        </pc:spChg>
        <pc:spChg chg="del">
          <ac:chgData name="Daphnée Rotenbach" userId="7408d6fd-eaeb-47da-89e0-711fd1361cf1" providerId="ADAL" clId="{C9D903A4-46E6-4893-AFC2-D270D0EA1800}" dt="2021-05-10T11:20:34.692" v="1582" actId="478"/>
          <ac:spMkLst>
            <pc:docMk/>
            <pc:sldMk cId="3967541880" sldId="1641"/>
            <ac:spMk id="17" creationId="{78160450-2AC9-42BB-9395-77AAB1438493}"/>
          </ac:spMkLst>
        </pc:spChg>
        <pc:spChg chg="del">
          <ac:chgData name="Daphnée Rotenbach" userId="7408d6fd-eaeb-47da-89e0-711fd1361cf1" providerId="ADAL" clId="{C9D903A4-46E6-4893-AFC2-D270D0EA1800}" dt="2021-05-10T11:20:19.186" v="1581" actId="478"/>
          <ac:spMkLst>
            <pc:docMk/>
            <pc:sldMk cId="3967541880" sldId="1641"/>
            <ac:spMk id="18" creationId="{2F57276D-B5EE-4B3E-BFEC-DEC0772B8BAC}"/>
          </ac:spMkLst>
        </pc:spChg>
      </pc:sldChg>
      <pc:sldChg chg="addSp delSp modSp add mod">
        <pc:chgData name="Daphnée Rotenbach" userId="7408d6fd-eaeb-47da-89e0-711fd1361cf1" providerId="ADAL" clId="{C9D903A4-46E6-4893-AFC2-D270D0EA1800}" dt="2021-05-10T14:49:48.456" v="2964" actId="1038"/>
        <pc:sldMkLst>
          <pc:docMk/>
          <pc:sldMk cId="4132833819" sldId="1642"/>
        </pc:sldMkLst>
        <pc:spChg chg="mod">
          <ac:chgData name="Daphnée Rotenbach" userId="7408d6fd-eaeb-47da-89e0-711fd1361cf1" providerId="ADAL" clId="{C9D903A4-46E6-4893-AFC2-D270D0EA1800}" dt="2021-05-10T14:48:40.799" v="2883" actId="1076"/>
          <ac:spMkLst>
            <pc:docMk/>
            <pc:sldMk cId="4132833819" sldId="1642"/>
            <ac:spMk id="2" creationId="{EADB2A0B-DAFF-4F1E-ABBE-FB82D1ADBDC2}"/>
          </ac:spMkLst>
        </pc:spChg>
        <pc:spChg chg="mod">
          <ac:chgData name="Daphnée Rotenbach" userId="7408d6fd-eaeb-47da-89e0-711fd1361cf1" providerId="ADAL" clId="{C9D903A4-46E6-4893-AFC2-D270D0EA1800}" dt="2021-05-10T14:49:44.395" v="2952" actId="1076"/>
          <ac:spMkLst>
            <pc:docMk/>
            <pc:sldMk cId="4132833819" sldId="1642"/>
            <ac:spMk id="3" creationId="{B297F5A3-163D-43EF-B0C8-05A3D440C2BD}"/>
          </ac:spMkLst>
        </pc:spChg>
        <pc:spChg chg="del mod">
          <ac:chgData name="Daphnée Rotenbach" userId="7408d6fd-eaeb-47da-89e0-711fd1361cf1" providerId="ADAL" clId="{C9D903A4-46E6-4893-AFC2-D270D0EA1800}" dt="2021-05-10T14:48:34.802" v="2881" actId="478"/>
          <ac:spMkLst>
            <pc:docMk/>
            <pc:sldMk cId="4132833819" sldId="1642"/>
            <ac:spMk id="4" creationId="{DD62BE35-B6F2-471E-ADDB-A6311FE49478}"/>
          </ac:spMkLst>
        </pc:spChg>
        <pc:spChg chg="mod">
          <ac:chgData name="Daphnée Rotenbach" userId="7408d6fd-eaeb-47da-89e0-711fd1361cf1" providerId="ADAL" clId="{C9D903A4-46E6-4893-AFC2-D270D0EA1800}" dt="2021-05-10T14:48:44.883" v="2907" actId="1038"/>
          <ac:spMkLst>
            <pc:docMk/>
            <pc:sldMk cId="4132833819" sldId="1642"/>
            <ac:spMk id="5" creationId="{0EC52AFC-7CBA-46F3-B8BB-A3D2BE2F9F16}"/>
          </ac:spMkLst>
        </pc:spChg>
        <pc:spChg chg="add mod">
          <ac:chgData name="Daphnée Rotenbach" userId="7408d6fd-eaeb-47da-89e0-711fd1361cf1" providerId="ADAL" clId="{C9D903A4-46E6-4893-AFC2-D270D0EA1800}" dt="2021-05-10T14:49:37.679" v="2948" actId="1076"/>
          <ac:spMkLst>
            <pc:docMk/>
            <pc:sldMk cId="4132833819" sldId="1642"/>
            <ac:spMk id="7" creationId="{FD665FB2-C699-48AA-8605-58F752CF3ED7}"/>
          </ac:spMkLst>
        </pc:spChg>
        <pc:spChg chg="del">
          <ac:chgData name="Daphnée Rotenbach" userId="7408d6fd-eaeb-47da-89e0-711fd1361cf1" providerId="ADAL" clId="{C9D903A4-46E6-4893-AFC2-D270D0EA1800}" dt="2021-05-10T12:51:40.445" v="1709" actId="478"/>
          <ac:spMkLst>
            <pc:docMk/>
            <pc:sldMk cId="4132833819" sldId="1642"/>
            <ac:spMk id="8" creationId="{104CB144-5DD3-43CE-B8A0-9676BBED4B39}"/>
          </ac:spMkLst>
        </pc:spChg>
        <pc:spChg chg="add del mod">
          <ac:chgData name="Daphnée Rotenbach" userId="7408d6fd-eaeb-47da-89e0-711fd1361cf1" providerId="ADAL" clId="{C9D903A4-46E6-4893-AFC2-D270D0EA1800}" dt="2021-05-10T14:48:31.558" v="2880" actId="478"/>
          <ac:spMkLst>
            <pc:docMk/>
            <pc:sldMk cId="4132833819" sldId="1642"/>
            <ac:spMk id="9" creationId="{3BB5F846-CA8E-4091-ABD7-D6CC6BA67092}"/>
          </ac:spMkLst>
        </pc:spChg>
        <pc:spChg chg="add mod">
          <ac:chgData name="Daphnée Rotenbach" userId="7408d6fd-eaeb-47da-89e0-711fd1361cf1" providerId="ADAL" clId="{C9D903A4-46E6-4893-AFC2-D270D0EA1800}" dt="2021-05-10T14:49:48.456" v="2964" actId="1038"/>
          <ac:spMkLst>
            <pc:docMk/>
            <pc:sldMk cId="4132833819" sldId="1642"/>
            <ac:spMk id="10" creationId="{24985A65-AC3C-40DB-AC35-7198A9E5C811}"/>
          </ac:spMkLst>
        </pc:spChg>
      </pc:sldChg>
      <pc:sldChg chg="add del">
        <pc:chgData name="Daphnée Rotenbach" userId="7408d6fd-eaeb-47da-89e0-711fd1361cf1" providerId="ADAL" clId="{C9D903A4-46E6-4893-AFC2-D270D0EA1800}" dt="2021-05-10T14:49:17.840" v="2942" actId="47"/>
        <pc:sldMkLst>
          <pc:docMk/>
          <pc:sldMk cId="3525691628" sldId="1643"/>
        </pc:sldMkLst>
      </pc:sldChg>
      <pc:sldChg chg="modSp add mod">
        <pc:chgData name="Daphnée Rotenbach" userId="7408d6fd-eaeb-47da-89e0-711fd1361cf1" providerId="ADAL" clId="{C9D903A4-46E6-4893-AFC2-D270D0EA1800}" dt="2021-05-10T14:49:16.575" v="2941"/>
        <pc:sldMkLst>
          <pc:docMk/>
          <pc:sldMk cId="2713147028" sldId="1644"/>
        </pc:sldMkLst>
        <pc:spChg chg="mod">
          <ac:chgData name="Daphnée Rotenbach" userId="7408d6fd-eaeb-47da-89e0-711fd1361cf1" providerId="ADAL" clId="{C9D903A4-46E6-4893-AFC2-D270D0EA1800}" dt="2021-05-10T14:49:16.575" v="2941"/>
          <ac:spMkLst>
            <pc:docMk/>
            <pc:sldMk cId="2713147028" sldId="1644"/>
            <ac:spMk id="8" creationId="{104CB144-5DD3-43CE-B8A0-9676BBED4B39}"/>
          </ac:spMkLst>
        </pc:spChg>
      </pc:sldChg>
      <pc:sldMasterChg chg="delSldLayout">
        <pc:chgData name="Daphnée Rotenbach" userId="7408d6fd-eaeb-47da-89e0-711fd1361cf1" providerId="ADAL" clId="{C9D903A4-46E6-4893-AFC2-D270D0EA1800}" dt="2021-05-10T09:47:08.775" v="1316" actId="47"/>
        <pc:sldMasterMkLst>
          <pc:docMk/>
          <pc:sldMasterMk cId="170994643" sldId="2147483648"/>
        </pc:sldMasterMkLst>
        <pc:sldLayoutChg chg="del">
          <pc:chgData name="Daphnée Rotenbach" userId="7408d6fd-eaeb-47da-89e0-711fd1361cf1" providerId="ADAL" clId="{C9D903A4-46E6-4893-AFC2-D270D0EA1800}" dt="2021-05-10T09:47:08.775" v="1316" actId="47"/>
          <pc:sldLayoutMkLst>
            <pc:docMk/>
            <pc:sldMasterMk cId="170994643" sldId="2147483648"/>
            <pc:sldLayoutMk cId="1198101722" sldId="2147483673"/>
          </pc:sldLayoutMkLst>
        </pc:sldLayoutChg>
      </pc:sldMasterChg>
    </pc:docChg>
  </pc:docChgLst>
  <pc:docChgLst>
    <pc:chgData name="Daphnée Rotenbach" userId="7408d6fd-eaeb-47da-89e0-711fd1361cf1" providerId="ADAL" clId="{E6A0457D-E37C-4445-8A05-392CF07B439F}"/>
    <pc:docChg chg="undo redo custSel addSld delSld modSld sldOrd">
      <pc:chgData name="Daphnée Rotenbach" userId="7408d6fd-eaeb-47da-89e0-711fd1361cf1" providerId="ADAL" clId="{E6A0457D-E37C-4445-8A05-392CF07B439F}" dt="2021-05-05T09:38:22.156" v="1777" actId="478"/>
      <pc:docMkLst>
        <pc:docMk/>
      </pc:docMkLst>
      <pc:sldChg chg="add del">
        <pc:chgData name="Daphnée Rotenbach" userId="7408d6fd-eaeb-47da-89e0-711fd1361cf1" providerId="ADAL" clId="{E6A0457D-E37C-4445-8A05-392CF07B439F}" dt="2021-04-21T14:16:00.336" v="218" actId="47"/>
        <pc:sldMkLst>
          <pc:docMk/>
          <pc:sldMk cId="535039799" sldId="372"/>
        </pc:sldMkLst>
      </pc:sldChg>
      <pc:sldChg chg="addSp delSp modSp add mod">
        <pc:chgData name="Daphnée Rotenbach" userId="7408d6fd-eaeb-47da-89e0-711fd1361cf1" providerId="ADAL" clId="{E6A0457D-E37C-4445-8A05-392CF07B439F}" dt="2021-05-03T15:18:13.884" v="1704" actId="1076"/>
        <pc:sldMkLst>
          <pc:docMk/>
          <pc:sldMk cId="3020509222" sldId="644"/>
        </pc:sldMkLst>
        <pc:spChg chg="del mod">
          <ac:chgData name="Daphnée Rotenbach" userId="7408d6fd-eaeb-47da-89e0-711fd1361cf1" providerId="ADAL" clId="{E6A0457D-E37C-4445-8A05-392CF07B439F}" dt="2021-05-03T15:15:30.079" v="1671" actId="478"/>
          <ac:spMkLst>
            <pc:docMk/>
            <pc:sldMk cId="3020509222" sldId="644"/>
            <ac:spMk id="2" creationId="{00000000-0000-0000-0000-000000000000}"/>
          </ac:spMkLst>
        </pc:spChg>
        <pc:spChg chg="del mod">
          <ac:chgData name="Daphnée Rotenbach" userId="7408d6fd-eaeb-47da-89e0-711fd1361cf1" providerId="ADAL" clId="{E6A0457D-E37C-4445-8A05-392CF07B439F}" dt="2021-05-03T15:14:21.246" v="1653" actId="478"/>
          <ac:spMkLst>
            <pc:docMk/>
            <pc:sldMk cId="3020509222" sldId="644"/>
            <ac:spMk id="40" creationId="{00000000-0000-0000-0000-000000000000}"/>
          </ac:spMkLst>
        </pc:spChg>
        <pc:spChg chg="mod">
          <ac:chgData name="Daphnée Rotenbach" userId="7408d6fd-eaeb-47da-89e0-711fd1361cf1" providerId="ADAL" clId="{E6A0457D-E37C-4445-8A05-392CF07B439F}" dt="2021-05-03T15:18:11.152" v="1701" actId="14100"/>
          <ac:spMkLst>
            <pc:docMk/>
            <pc:sldMk cId="3020509222" sldId="644"/>
            <ac:spMk id="42" creationId="{4C321A5D-7F1D-4984-9D81-0944BD9D481E}"/>
          </ac:spMkLst>
        </pc:spChg>
        <pc:spChg chg="mod">
          <ac:chgData name="Daphnée Rotenbach" userId="7408d6fd-eaeb-47da-89e0-711fd1361cf1" providerId="ADAL" clId="{E6A0457D-E37C-4445-8A05-392CF07B439F}" dt="2021-05-03T15:18:11.152" v="1701" actId="14100"/>
          <ac:spMkLst>
            <pc:docMk/>
            <pc:sldMk cId="3020509222" sldId="644"/>
            <ac:spMk id="44" creationId="{F6EF2163-4591-46CD-8628-F58C97BD182A}"/>
          </ac:spMkLst>
        </pc:spChg>
        <pc:spChg chg="mod">
          <ac:chgData name="Daphnée Rotenbach" userId="7408d6fd-eaeb-47da-89e0-711fd1361cf1" providerId="ADAL" clId="{E6A0457D-E37C-4445-8A05-392CF07B439F}" dt="2021-05-03T15:18:11.152" v="1701" actId="14100"/>
          <ac:spMkLst>
            <pc:docMk/>
            <pc:sldMk cId="3020509222" sldId="644"/>
            <ac:spMk id="45" creationId="{F9EA0AED-6A2C-4318-82D5-9629F79C8324}"/>
          </ac:spMkLst>
        </pc:spChg>
        <pc:spChg chg="mod">
          <ac:chgData name="Daphnée Rotenbach" userId="7408d6fd-eaeb-47da-89e0-711fd1361cf1" providerId="ADAL" clId="{E6A0457D-E37C-4445-8A05-392CF07B439F}" dt="2021-05-03T15:18:11.152" v="1701" actId="14100"/>
          <ac:spMkLst>
            <pc:docMk/>
            <pc:sldMk cId="3020509222" sldId="644"/>
            <ac:spMk id="46" creationId="{FC8F2589-622D-4D71-AF4D-EE76EA89FC15}"/>
          </ac:spMkLst>
        </pc:spChg>
        <pc:spChg chg="mod">
          <ac:chgData name="Daphnée Rotenbach" userId="7408d6fd-eaeb-47da-89e0-711fd1361cf1" providerId="ADAL" clId="{E6A0457D-E37C-4445-8A05-392CF07B439F}" dt="2021-05-03T15:18:11.152" v="1701" actId="14100"/>
          <ac:spMkLst>
            <pc:docMk/>
            <pc:sldMk cId="3020509222" sldId="644"/>
            <ac:spMk id="49" creationId="{A092B22C-3945-49CE-9FB9-E4D6E28545D2}"/>
          </ac:spMkLst>
        </pc:spChg>
        <pc:spChg chg="mod">
          <ac:chgData name="Daphnée Rotenbach" userId="7408d6fd-eaeb-47da-89e0-711fd1361cf1" providerId="ADAL" clId="{E6A0457D-E37C-4445-8A05-392CF07B439F}" dt="2021-05-03T15:18:11.152" v="1701" actId="14100"/>
          <ac:spMkLst>
            <pc:docMk/>
            <pc:sldMk cId="3020509222" sldId="644"/>
            <ac:spMk id="50" creationId="{6D9F7897-B97D-4745-A6E4-B8B38B3A60B5}"/>
          </ac:spMkLst>
        </pc:spChg>
        <pc:spChg chg="mod">
          <ac:chgData name="Daphnée Rotenbach" userId="7408d6fd-eaeb-47da-89e0-711fd1361cf1" providerId="ADAL" clId="{E6A0457D-E37C-4445-8A05-392CF07B439F}" dt="2021-05-03T15:18:11.152" v="1701" actId="14100"/>
          <ac:spMkLst>
            <pc:docMk/>
            <pc:sldMk cId="3020509222" sldId="644"/>
            <ac:spMk id="51" creationId="{66252EC7-8F12-4CC3-973B-6944B42C9853}"/>
          </ac:spMkLst>
        </pc:spChg>
        <pc:spChg chg="mod">
          <ac:chgData name="Daphnée Rotenbach" userId="7408d6fd-eaeb-47da-89e0-711fd1361cf1" providerId="ADAL" clId="{E6A0457D-E37C-4445-8A05-392CF07B439F}" dt="2021-05-03T15:18:11.152" v="1701" actId="14100"/>
          <ac:spMkLst>
            <pc:docMk/>
            <pc:sldMk cId="3020509222" sldId="644"/>
            <ac:spMk id="52" creationId="{A4D4E6EE-BF33-4C6C-A042-81F9C25290EA}"/>
          </ac:spMkLst>
        </pc:spChg>
        <pc:spChg chg="mod">
          <ac:chgData name="Daphnée Rotenbach" userId="7408d6fd-eaeb-47da-89e0-711fd1361cf1" providerId="ADAL" clId="{E6A0457D-E37C-4445-8A05-392CF07B439F}" dt="2021-05-03T15:18:11.152" v="1701" actId="14100"/>
          <ac:spMkLst>
            <pc:docMk/>
            <pc:sldMk cId="3020509222" sldId="644"/>
            <ac:spMk id="53" creationId="{C2F93EF9-42E8-476A-BA26-E07473680A9E}"/>
          </ac:spMkLst>
        </pc:spChg>
        <pc:spChg chg="mod">
          <ac:chgData name="Daphnée Rotenbach" userId="7408d6fd-eaeb-47da-89e0-711fd1361cf1" providerId="ADAL" clId="{E6A0457D-E37C-4445-8A05-392CF07B439F}" dt="2021-05-03T15:18:11.152" v="1701" actId="14100"/>
          <ac:spMkLst>
            <pc:docMk/>
            <pc:sldMk cId="3020509222" sldId="644"/>
            <ac:spMk id="58" creationId="{4310A698-84EA-40FF-AE00-06B9516A6E93}"/>
          </ac:spMkLst>
        </pc:spChg>
        <pc:spChg chg="mod">
          <ac:chgData name="Daphnée Rotenbach" userId="7408d6fd-eaeb-47da-89e0-711fd1361cf1" providerId="ADAL" clId="{E6A0457D-E37C-4445-8A05-392CF07B439F}" dt="2021-05-03T15:18:11.152" v="1701" actId="14100"/>
          <ac:spMkLst>
            <pc:docMk/>
            <pc:sldMk cId="3020509222" sldId="644"/>
            <ac:spMk id="67" creationId="{671ED0B5-B661-4BDC-B155-5671C52100F7}"/>
          </ac:spMkLst>
        </pc:spChg>
        <pc:spChg chg="mod">
          <ac:chgData name="Daphnée Rotenbach" userId="7408d6fd-eaeb-47da-89e0-711fd1361cf1" providerId="ADAL" clId="{E6A0457D-E37C-4445-8A05-392CF07B439F}" dt="2021-05-03T15:18:11.152" v="1701" actId="14100"/>
          <ac:spMkLst>
            <pc:docMk/>
            <pc:sldMk cId="3020509222" sldId="644"/>
            <ac:spMk id="68" creationId="{624D5DAF-1371-4D63-AC18-44CF92B05397}"/>
          </ac:spMkLst>
        </pc:spChg>
        <pc:spChg chg="mod">
          <ac:chgData name="Daphnée Rotenbach" userId="7408d6fd-eaeb-47da-89e0-711fd1361cf1" providerId="ADAL" clId="{E6A0457D-E37C-4445-8A05-392CF07B439F}" dt="2021-05-03T15:18:11.152" v="1701" actId="14100"/>
          <ac:spMkLst>
            <pc:docMk/>
            <pc:sldMk cId="3020509222" sldId="644"/>
            <ac:spMk id="69" creationId="{9D13356C-5898-4B0A-9099-09FE03818FD9}"/>
          </ac:spMkLst>
        </pc:spChg>
        <pc:spChg chg="mod">
          <ac:chgData name="Daphnée Rotenbach" userId="7408d6fd-eaeb-47da-89e0-711fd1361cf1" providerId="ADAL" clId="{E6A0457D-E37C-4445-8A05-392CF07B439F}" dt="2021-05-03T15:18:11.152" v="1701" actId="14100"/>
          <ac:spMkLst>
            <pc:docMk/>
            <pc:sldMk cId="3020509222" sldId="644"/>
            <ac:spMk id="70" creationId="{BCF3941A-44F3-4AF5-994D-35A45F016F05}"/>
          </ac:spMkLst>
        </pc:spChg>
        <pc:spChg chg="mod">
          <ac:chgData name="Daphnée Rotenbach" userId="7408d6fd-eaeb-47da-89e0-711fd1361cf1" providerId="ADAL" clId="{E6A0457D-E37C-4445-8A05-392CF07B439F}" dt="2021-05-03T15:18:11.152" v="1701" actId="14100"/>
          <ac:spMkLst>
            <pc:docMk/>
            <pc:sldMk cId="3020509222" sldId="644"/>
            <ac:spMk id="71" creationId="{1A10D694-80D9-4B0B-958F-4279602F0F5D}"/>
          </ac:spMkLst>
        </pc:spChg>
        <pc:spChg chg="mod">
          <ac:chgData name="Daphnée Rotenbach" userId="7408d6fd-eaeb-47da-89e0-711fd1361cf1" providerId="ADAL" clId="{E6A0457D-E37C-4445-8A05-392CF07B439F}" dt="2021-05-03T15:18:11.152" v="1701" actId="14100"/>
          <ac:spMkLst>
            <pc:docMk/>
            <pc:sldMk cId="3020509222" sldId="644"/>
            <ac:spMk id="72" creationId="{DC59EF4E-2C7A-4BE7-B2D6-3ABC53BEF307}"/>
          </ac:spMkLst>
        </pc:spChg>
        <pc:spChg chg="mod">
          <ac:chgData name="Daphnée Rotenbach" userId="7408d6fd-eaeb-47da-89e0-711fd1361cf1" providerId="ADAL" clId="{E6A0457D-E37C-4445-8A05-392CF07B439F}" dt="2021-05-03T15:18:11.152" v="1701" actId="14100"/>
          <ac:spMkLst>
            <pc:docMk/>
            <pc:sldMk cId="3020509222" sldId="644"/>
            <ac:spMk id="73" creationId="{F611ACD7-1919-4609-9D67-26B7CAE366AC}"/>
          </ac:spMkLst>
        </pc:spChg>
        <pc:spChg chg="mod">
          <ac:chgData name="Daphnée Rotenbach" userId="7408d6fd-eaeb-47da-89e0-711fd1361cf1" providerId="ADAL" clId="{E6A0457D-E37C-4445-8A05-392CF07B439F}" dt="2021-05-03T15:18:11.152" v="1701" actId="14100"/>
          <ac:spMkLst>
            <pc:docMk/>
            <pc:sldMk cId="3020509222" sldId="644"/>
            <ac:spMk id="74" creationId="{3CABF073-C1DE-485B-92EB-11AD5E0F20F3}"/>
          </ac:spMkLst>
        </pc:spChg>
        <pc:spChg chg="mod">
          <ac:chgData name="Daphnée Rotenbach" userId="7408d6fd-eaeb-47da-89e0-711fd1361cf1" providerId="ADAL" clId="{E6A0457D-E37C-4445-8A05-392CF07B439F}" dt="2021-05-03T15:18:11.152" v="1701" actId="14100"/>
          <ac:spMkLst>
            <pc:docMk/>
            <pc:sldMk cId="3020509222" sldId="644"/>
            <ac:spMk id="75" creationId="{083F4E83-F337-46F6-923F-F1F3BF2C8504}"/>
          </ac:spMkLst>
        </pc:spChg>
        <pc:spChg chg="mod">
          <ac:chgData name="Daphnée Rotenbach" userId="7408d6fd-eaeb-47da-89e0-711fd1361cf1" providerId="ADAL" clId="{E6A0457D-E37C-4445-8A05-392CF07B439F}" dt="2021-05-03T15:18:11.152" v="1701" actId="14100"/>
          <ac:spMkLst>
            <pc:docMk/>
            <pc:sldMk cId="3020509222" sldId="644"/>
            <ac:spMk id="77" creationId="{037DE8F0-E991-495B-9A82-C79755C056EE}"/>
          </ac:spMkLst>
        </pc:spChg>
        <pc:spChg chg="mod">
          <ac:chgData name="Daphnée Rotenbach" userId="7408d6fd-eaeb-47da-89e0-711fd1361cf1" providerId="ADAL" clId="{E6A0457D-E37C-4445-8A05-392CF07B439F}" dt="2021-05-03T15:18:11.152" v="1701" actId="14100"/>
          <ac:spMkLst>
            <pc:docMk/>
            <pc:sldMk cId="3020509222" sldId="644"/>
            <ac:spMk id="79" creationId="{4B0EC676-DF05-4D34-AA1E-75A75021BD78}"/>
          </ac:spMkLst>
        </pc:spChg>
        <pc:spChg chg="mod">
          <ac:chgData name="Daphnée Rotenbach" userId="7408d6fd-eaeb-47da-89e0-711fd1361cf1" providerId="ADAL" clId="{E6A0457D-E37C-4445-8A05-392CF07B439F}" dt="2021-05-03T15:18:11.152" v="1701" actId="14100"/>
          <ac:spMkLst>
            <pc:docMk/>
            <pc:sldMk cId="3020509222" sldId="644"/>
            <ac:spMk id="81" creationId="{C62910D8-4267-4730-A535-EDF86D038C0C}"/>
          </ac:spMkLst>
        </pc:spChg>
        <pc:spChg chg="mod">
          <ac:chgData name="Daphnée Rotenbach" userId="7408d6fd-eaeb-47da-89e0-711fd1361cf1" providerId="ADAL" clId="{E6A0457D-E37C-4445-8A05-392CF07B439F}" dt="2021-05-03T15:18:11.570" v="1702"/>
          <ac:spMkLst>
            <pc:docMk/>
            <pc:sldMk cId="3020509222" sldId="644"/>
            <ac:spMk id="83" creationId="{CE9939EA-AB35-4FCC-B8EE-5DF5AB2F4D03}"/>
          </ac:spMkLst>
        </pc:spChg>
        <pc:spChg chg="mod">
          <ac:chgData name="Daphnée Rotenbach" userId="7408d6fd-eaeb-47da-89e0-711fd1361cf1" providerId="ADAL" clId="{E6A0457D-E37C-4445-8A05-392CF07B439F}" dt="2021-05-03T15:18:11.152" v="1701" actId="14100"/>
          <ac:spMkLst>
            <pc:docMk/>
            <pc:sldMk cId="3020509222" sldId="644"/>
            <ac:spMk id="86" creationId="{BE4FB503-494A-4098-BE34-647ACB50D334}"/>
          </ac:spMkLst>
        </pc:spChg>
        <pc:spChg chg="add mod">
          <ac:chgData name="Daphnée Rotenbach" userId="7408d6fd-eaeb-47da-89e0-711fd1361cf1" providerId="ADAL" clId="{E6A0457D-E37C-4445-8A05-392CF07B439F}" dt="2021-05-03T15:15:34.706" v="1673" actId="1076"/>
          <ac:spMkLst>
            <pc:docMk/>
            <pc:sldMk cId="3020509222" sldId="644"/>
            <ac:spMk id="87" creationId="{B6B7BDBA-CFA5-4E0B-B203-E9BF03261E9A}"/>
          </ac:spMkLst>
        </pc:spChg>
        <pc:spChg chg="add del mod">
          <ac:chgData name="Daphnée Rotenbach" userId="7408d6fd-eaeb-47da-89e0-711fd1361cf1" providerId="ADAL" clId="{E6A0457D-E37C-4445-8A05-392CF07B439F}" dt="2021-05-03T15:15:32.167" v="1672" actId="478"/>
          <ac:spMkLst>
            <pc:docMk/>
            <pc:sldMk cId="3020509222" sldId="644"/>
            <ac:spMk id="88" creationId="{926EE69F-3377-41AA-AAC3-F1615FD3F144}"/>
          </ac:spMkLst>
        </pc:spChg>
        <pc:spChg chg="add mod">
          <ac:chgData name="Daphnée Rotenbach" userId="7408d6fd-eaeb-47da-89e0-711fd1361cf1" providerId="ADAL" clId="{E6A0457D-E37C-4445-8A05-392CF07B439F}" dt="2021-05-03T15:18:13.884" v="1704" actId="1076"/>
          <ac:spMkLst>
            <pc:docMk/>
            <pc:sldMk cId="3020509222" sldId="644"/>
            <ac:spMk id="89" creationId="{266E052C-96DD-4844-812A-1EE258C41C4B}"/>
          </ac:spMkLst>
        </pc:spChg>
        <pc:grpChg chg="mod">
          <ac:chgData name="Daphnée Rotenbach" userId="7408d6fd-eaeb-47da-89e0-711fd1361cf1" providerId="ADAL" clId="{E6A0457D-E37C-4445-8A05-392CF07B439F}" dt="2021-05-03T15:14:32.518" v="1658" actId="14100"/>
          <ac:grpSpMkLst>
            <pc:docMk/>
            <pc:sldMk cId="3020509222" sldId="644"/>
            <ac:grpSpMk id="39" creationId="{00000000-0000-0000-0000-000000000000}"/>
          </ac:grpSpMkLst>
        </pc:grpChg>
        <pc:grpChg chg="add mod">
          <ac:chgData name="Daphnée Rotenbach" userId="7408d6fd-eaeb-47da-89e0-711fd1361cf1" providerId="ADAL" clId="{E6A0457D-E37C-4445-8A05-392CF07B439F}" dt="2021-05-03T15:18:11.152" v="1701" actId="14100"/>
          <ac:grpSpMkLst>
            <pc:docMk/>
            <pc:sldMk cId="3020509222" sldId="644"/>
            <ac:grpSpMk id="41" creationId="{E0BFDEFD-577C-4D55-B3A4-AFEA023F3B92}"/>
          </ac:grpSpMkLst>
        </pc:grpChg>
        <pc:grpChg chg="mod">
          <ac:chgData name="Daphnée Rotenbach" userId="7408d6fd-eaeb-47da-89e0-711fd1361cf1" providerId="ADAL" clId="{E6A0457D-E37C-4445-8A05-392CF07B439F}" dt="2021-05-03T15:18:11.152" v="1701" actId="14100"/>
          <ac:grpSpMkLst>
            <pc:docMk/>
            <pc:sldMk cId="3020509222" sldId="644"/>
            <ac:grpSpMk id="43" creationId="{8E9C83C3-C309-4CDD-B124-A35F81B9599A}"/>
          </ac:grpSpMkLst>
        </pc:grpChg>
        <pc:grpChg chg="mod">
          <ac:chgData name="Daphnée Rotenbach" userId="7408d6fd-eaeb-47da-89e0-711fd1361cf1" providerId="ADAL" clId="{E6A0457D-E37C-4445-8A05-392CF07B439F}" dt="2021-05-03T15:18:11.152" v="1701" actId="14100"/>
          <ac:grpSpMkLst>
            <pc:docMk/>
            <pc:sldMk cId="3020509222" sldId="644"/>
            <ac:grpSpMk id="47" creationId="{1E878A53-A466-466B-95F0-98F07BA41C4A}"/>
          </ac:grpSpMkLst>
        </pc:grpChg>
        <pc:grpChg chg="mod">
          <ac:chgData name="Daphnée Rotenbach" userId="7408d6fd-eaeb-47da-89e0-711fd1361cf1" providerId="ADAL" clId="{E6A0457D-E37C-4445-8A05-392CF07B439F}" dt="2021-05-03T15:18:11.152" v="1701" actId="14100"/>
          <ac:grpSpMkLst>
            <pc:docMk/>
            <pc:sldMk cId="3020509222" sldId="644"/>
            <ac:grpSpMk id="48" creationId="{0944F9EC-8DFD-4C01-A5E5-60128521F183}"/>
          </ac:grpSpMkLst>
        </pc:grpChg>
        <pc:grpChg chg="mod">
          <ac:chgData name="Daphnée Rotenbach" userId="7408d6fd-eaeb-47da-89e0-711fd1361cf1" providerId="ADAL" clId="{E6A0457D-E37C-4445-8A05-392CF07B439F}" dt="2021-05-03T15:18:11.152" v="1701" actId="14100"/>
          <ac:grpSpMkLst>
            <pc:docMk/>
            <pc:sldMk cId="3020509222" sldId="644"/>
            <ac:grpSpMk id="54" creationId="{35C62158-C827-4330-826C-5E9F4F870582}"/>
          </ac:grpSpMkLst>
        </pc:grpChg>
        <pc:grpChg chg="mod">
          <ac:chgData name="Daphnée Rotenbach" userId="7408d6fd-eaeb-47da-89e0-711fd1361cf1" providerId="ADAL" clId="{E6A0457D-E37C-4445-8A05-392CF07B439F}" dt="2021-05-03T15:18:11.152" v="1701" actId="14100"/>
          <ac:grpSpMkLst>
            <pc:docMk/>
            <pc:sldMk cId="3020509222" sldId="644"/>
            <ac:grpSpMk id="55" creationId="{83386086-4263-4122-BA5F-0859BC7AE83D}"/>
          </ac:grpSpMkLst>
        </pc:grpChg>
        <pc:grpChg chg="mod">
          <ac:chgData name="Daphnée Rotenbach" userId="7408d6fd-eaeb-47da-89e0-711fd1361cf1" providerId="ADAL" clId="{E6A0457D-E37C-4445-8A05-392CF07B439F}" dt="2021-05-03T15:18:11.152" v="1701" actId="14100"/>
          <ac:grpSpMkLst>
            <pc:docMk/>
            <pc:sldMk cId="3020509222" sldId="644"/>
            <ac:grpSpMk id="56" creationId="{A9330CC6-D7BC-4D02-9A34-3385385E2BC7}"/>
          </ac:grpSpMkLst>
        </pc:grpChg>
        <pc:grpChg chg="mod">
          <ac:chgData name="Daphnée Rotenbach" userId="7408d6fd-eaeb-47da-89e0-711fd1361cf1" providerId="ADAL" clId="{E6A0457D-E37C-4445-8A05-392CF07B439F}" dt="2021-05-03T15:18:11.152" v="1701" actId="14100"/>
          <ac:grpSpMkLst>
            <pc:docMk/>
            <pc:sldMk cId="3020509222" sldId="644"/>
            <ac:grpSpMk id="57" creationId="{0839E338-7F8F-434C-B274-C5F253F2B9F0}"/>
          </ac:grpSpMkLst>
        </pc:grpChg>
        <pc:grpChg chg="mod">
          <ac:chgData name="Daphnée Rotenbach" userId="7408d6fd-eaeb-47da-89e0-711fd1361cf1" providerId="ADAL" clId="{E6A0457D-E37C-4445-8A05-392CF07B439F}" dt="2021-05-03T15:18:11.152" v="1701" actId="14100"/>
          <ac:grpSpMkLst>
            <pc:docMk/>
            <pc:sldMk cId="3020509222" sldId="644"/>
            <ac:grpSpMk id="59" creationId="{265A7F13-6D47-4D53-8A85-6CB5EBF562DB}"/>
          </ac:grpSpMkLst>
        </pc:grpChg>
        <pc:grpChg chg="mod">
          <ac:chgData name="Daphnée Rotenbach" userId="7408d6fd-eaeb-47da-89e0-711fd1361cf1" providerId="ADAL" clId="{E6A0457D-E37C-4445-8A05-392CF07B439F}" dt="2021-05-03T15:18:11.152" v="1701" actId="14100"/>
          <ac:grpSpMkLst>
            <pc:docMk/>
            <pc:sldMk cId="3020509222" sldId="644"/>
            <ac:grpSpMk id="60" creationId="{476C6196-883D-450D-9FBA-7BF6967BC253}"/>
          </ac:grpSpMkLst>
        </pc:grpChg>
        <pc:grpChg chg="mod">
          <ac:chgData name="Daphnée Rotenbach" userId="7408d6fd-eaeb-47da-89e0-711fd1361cf1" providerId="ADAL" clId="{E6A0457D-E37C-4445-8A05-392CF07B439F}" dt="2021-05-03T15:18:11.152" v="1701" actId="14100"/>
          <ac:grpSpMkLst>
            <pc:docMk/>
            <pc:sldMk cId="3020509222" sldId="644"/>
            <ac:grpSpMk id="61" creationId="{102004F9-7B47-4A2C-8C6F-2B5F1430CD3C}"/>
          </ac:grpSpMkLst>
        </pc:grpChg>
        <pc:grpChg chg="mod">
          <ac:chgData name="Daphnée Rotenbach" userId="7408d6fd-eaeb-47da-89e0-711fd1361cf1" providerId="ADAL" clId="{E6A0457D-E37C-4445-8A05-392CF07B439F}" dt="2021-05-03T15:18:11.152" v="1701" actId="14100"/>
          <ac:grpSpMkLst>
            <pc:docMk/>
            <pc:sldMk cId="3020509222" sldId="644"/>
            <ac:grpSpMk id="62" creationId="{FAE8E9B2-B130-47BF-A22A-33D958990101}"/>
          </ac:grpSpMkLst>
        </pc:grpChg>
        <pc:grpChg chg="mod">
          <ac:chgData name="Daphnée Rotenbach" userId="7408d6fd-eaeb-47da-89e0-711fd1361cf1" providerId="ADAL" clId="{E6A0457D-E37C-4445-8A05-392CF07B439F}" dt="2021-05-03T15:18:11.152" v="1701" actId="14100"/>
          <ac:grpSpMkLst>
            <pc:docMk/>
            <pc:sldMk cId="3020509222" sldId="644"/>
            <ac:grpSpMk id="64" creationId="{56280D31-56FC-4A52-B0BB-7F47D6FA57DB}"/>
          </ac:grpSpMkLst>
        </pc:grpChg>
        <pc:picChg chg="mod">
          <ac:chgData name="Daphnée Rotenbach" userId="7408d6fd-eaeb-47da-89e0-711fd1361cf1" providerId="ADAL" clId="{E6A0457D-E37C-4445-8A05-392CF07B439F}" dt="2021-05-03T15:18:11.152" v="1701" actId="14100"/>
          <ac:picMkLst>
            <pc:docMk/>
            <pc:sldMk cId="3020509222" sldId="644"/>
            <ac:picMk id="63" creationId="{1EAE4C60-8C5E-4FC8-A11D-5EB03F4CD210}"/>
          </ac:picMkLst>
        </pc:picChg>
        <pc:picChg chg="mod">
          <ac:chgData name="Daphnée Rotenbach" userId="7408d6fd-eaeb-47da-89e0-711fd1361cf1" providerId="ADAL" clId="{E6A0457D-E37C-4445-8A05-392CF07B439F}" dt="2021-05-03T15:18:11.152" v="1701" actId="14100"/>
          <ac:picMkLst>
            <pc:docMk/>
            <pc:sldMk cId="3020509222" sldId="644"/>
            <ac:picMk id="65" creationId="{010D422E-5325-4589-A390-E972C98E4CB1}"/>
          </ac:picMkLst>
        </pc:picChg>
        <pc:picChg chg="mod">
          <ac:chgData name="Daphnée Rotenbach" userId="7408d6fd-eaeb-47da-89e0-711fd1361cf1" providerId="ADAL" clId="{E6A0457D-E37C-4445-8A05-392CF07B439F}" dt="2021-05-03T15:18:11.152" v="1701" actId="14100"/>
          <ac:picMkLst>
            <pc:docMk/>
            <pc:sldMk cId="3020509222" sldId="644"/>
            <ac:picMk id="66" creationId="{1FB71674-3253-4149-95D7-D36A6EF54218}"/>
          </ac:picMkLst>
        </pc:picChg>
        <pc:picChg chg="mod">
          <ac:chgData name="Daphnée Rotenbach" userId="7408d6fd-eaeb-47da-89e0-711fd1361cf1" providerId="ADAL" clId="{E6A0457D-E37C-4445-8A05-392CF07B439F}" dt="2021-05-03T15:18:11.152" v="1701" actId="14100"/>
          <ac:picMkLst>
            <pc:docMk/>
            <pc:sldMk cId="3020509222" sldId="644"/>
            <ac:picMk id="76" creationId="{453B891C-4483-43B9-91DD-6E52B5F93830}"/>
          </ac:picMkLst>
        </pc:picChg>
        <pc:picChg chg="mod">
          <ac:chgData name="Daphnée Rotenbach" userId="7408d6fd-eaeb-47da-89e0-711fd1361cf1" providerId="ADAL" clId="{E6A0457D-E37C-4445-8A05-392CF07B439F}" dt="2021-05-03T15:18:11.152" v="1701" actId="14100"/>
          <ac:picMkLst>
            <pc:docMk/>
            <pc:sldMk cId="3020509222" sldId="644"/>
            <ac:picMk id="78" creationId="{126F7027-53BB-4970-A166-2B92E61437BB}"/>
          </ac:picMkLst>
        </pc:picChg>
        <pc:picChg chg="mod">
          <ac:chgData name="Daphnée Rotenbach" userId="7408d6fd-eaeb-47da-89e0-711fd1361cf1" providerId="ADAL" clId="{E6A0457D-E37C-4445-8A05-392CF07B439F}" dt="2021-05-03T15:18:11.152" v="1701" actId="14100"/>
          <ac:picMkLst>
            <pc:docMk/>
            <pc:sldMk cId="3020509222" sldId="644"/>
            <ac:picMk id="80" creationId="{0EEDA2E7-5499-40C5-BC1E-1A9E2A49EA6B}"/>
          </ac:picMkLst>
        </pc:picChg>
        <pc:picChg chg="mod">
          <ac:chgData name="Daphnée Rotenbach" userId="7408d6fd-eaeb-47da-89e0-711fd1361cf1" providerId="ADAL" clId="{E6A0457D-E37C-4445-8A05-392CF07B439F}" dt="2021-05-03T15:18:11.152" v="1701" actId="14100"/>
          <ac:picMkLst>
            <pc:docMk/>
            <pc:sldMk cId="3020509222" sldId="644"/>
            <ac:picMk id="82" creationId="{24DABD00-CE80-44F5-8742-115FFF64B705}"/>
          </ac:picMkLst>
        </pc:picChg>
        <pc:picChg chg="mod">
          <ac:chgData name="Daphnée Rotenbach" userId="7408d6fd-eaeb-47da-89e0-711fd1361cf1" providerId="ADAL" clId="{E6A0457D-E37C-4445-8A05-392CF07B439F}" dt="2021-05-03T15:18:11.152" v="1701" actId="14100"/>
          <ac:picMkLst>
            <pc:docMk/>
            <pc:sldMk cId="3020509222" sldId="644"/>
            <ac:picMk id="84" creationId="{5EF81ADF-6C61-4034-B055-B617B98438D8}"/>
          </ac:picMkLst>
        </pc:picChg>
        <pc:picChg chg="mod">
          <ac:chgData name="Daphnée Rotenbach" userId="7408d6fd-eaeb-47da-89e0-711fd1361cf1" providerId="ADAL" clId="{E6A0457D-E37C-4445-8A05-392CF07B439F}" dt="2021-05-03T15:18:11.152" v="1701" actId="14100"/>
          <ac:picMkLst>
            <pc:docMk/>
            <pc:sldMk cId="3020509222" sldId="644"/>
            <ac:picMk id="85" creationId="{A2E0D328-3F9C-44AF-8CAD-7623A575E018}"/>
          </ac:picMkLst>
        </pc:picChg>
      </pc:sldChg>
      <pc:sldChg chg="addSp delSp modSp add del mod">
        <pc:chgData name="Daphnée Rotenbach" userId="7408d6fd-eaeb-47da-89e0-711fd1361cf1" providerId="ADAL" clId="{E6A0457D-E37C-4445-8A05-392CF07B439F}" dt="2021-05-03T15:15:02.190" v="1667" actId="47"/>
        <pc:sldMkLst>
          <pc:docMk/>
          <pc:sldMk cId="4253014505" sldId="703"/>
        </pc:sldMkLst>
        <pc:spChg chg="mod">
          <ac:chgData name="Daphnée Rotenbach" userId="7408d6fd-eaeb-47da-89e0-711fd1361cf1" providerId="ADAL" clId="{E6A0457D-E37C-4445-8A05-392CF07B439F}" dt="2021-05-03T15:14:12.041" v="1650" actId="1076"/>
          <ac:spMkLst>
            <pc:docMk/>
            <pc:sldMk cId="4253014505" sldId="703"/>
            <ac:spMk id="2" creationId="{00000000-0000-0000-0000-000000000000}"/>
          </ac:spMkLst>
        </pc:spChg>
        <pc:spChg chg="mod">
          <ac:chgData name="Daphnée Rotenbach" userId="7408d6fd-eaeb-47da-89e0-711fd1361cf1" providerId="ADAL" clId="{E6A0457D-E37C-4445-8A05-392CF07B439F}" dt="2021-05-03T15:14:12.041" v="1650" actId="1076"/>
          <ac:spMkLst>
            <pc:docMk/>
            <pc:sldMk cId="4253014505" sldId="703"/>
            <ac:spMk id="4" creationId="{00000000-0000-0000-0000-000000000000}"/>
          </ac:spMkLst>
        </pc:spChg>
        <pc:spChg chg="del">
          <ac:chgData name="Daphnée Rotenbach" userId="7408d6fd-eaeb-47da-89e0-711fd1361cf1" providerId="ADAL" clId="{E6A0457D-E37C-4445-8A05-392CF07B439F}" dt="2021-05-03T15:11:51.976" v="1585" actId="478"/>
          <ac:spMkLst>
            <pc:docMk/>
            <pc:sldMk cId="4253014505" sldId="703"/>
            <ac:spMk id="51" creationId="{76A46294-45B3-0846-BFC4-FEBB1D9F19C7}"/>
          </ac:spMkLst>
        </pc:spChg>
        <pc:spChg chg="add del mod">
          <ac:chgData name="Daphnée Rotenbach" userId="7408d6fd-eaeb-47da-89e0-711fd1361cf1" providerId="ADAL" clId="{E6A0457D-E37C-4445-8A05-392CF07B439F}" dt="2021-05-03T15:11:40.669" v="1584" actId="478"/>
          <ac:spMkLst>
            <pc:docMk/>
            <pc:sldMk cId="4253014505" sldId="703"/>
            <ac:spMk id="57" creationId="{4970595A-43B7-4774-BE5E-3A5700CCB0AA}"/>
          </ac:spMkLst>
        </pc:spChg>
        <pc:spChg chg="mod">
          <ac:chgData name="Daphnée Rotenbach" userId="7408d6fd-eaeb-47da-89e0-711fd1361cf1" providerId="ADAL" clId="{E6A0457D-E37C-4445-8A05-392CF07B439F}" dt="2021-05-03T15:14:12.041" v="1650" actId="1076"/>
          <ac:spMkLst>
            <pc:docMk/>
            <pc:sldMk cId="4253014505" sldId="703"/>
            <ac:spMk id="65" creationId="{00000000-0000-0000-0000-000000000000}"/>
          </ac:spMkLst>
        </pc:spChg>
        <pc:spChg chg="mod">
          <ac:chgData name="Daphnée Rotenbach" userId="7408d6fd-eaeb-47da-89e0-711fd1361cf1" providerId="ADAL" clId="{E6A0457D-E37C-4445-8A05-392CF07B439F}" dt="2021-05-03T15:14:12.041" v="1650" actId="1076"/>
          <ac:spMkLst>
            <pc:docMk/>
            <pc:sldMk cId="4253014505" sldId="703"/>
            <ac:spMk id="79" creationId="{00000000-0000-0000-0000-000000000000}"/>
          </ac:spMkLst>
        </pc:spChg>
        <pc:spChg chg="mod">
          <ac:chgData name="Daphnée Rotenbach" userId="7408d6fd-eaeb-47da-89e0-711fd1361cf1" providerId="ADAL" clId="{E6A0457D-E37C-4445-8A05-392CF07B439F}" dt="2021-05-03T15:14:12.041" v="1650" actId="1076"/>
          <ac:spMkLst>
            <pc:docMk/>
            <pc:sldMk cId="4253014505" sldId="703"/>
            <ac:spMk id="80" creationId="{00000000-0000-0000-0000-000000000000}"/>
          </ac:spMkLst>
        </pc:spChg>
        <pc:spChg chg="mod">
          <ac:chgData name="Daphnée Rotenbach" userId="7408d6fd-eaeb-47da-89e0-711fd1361cf1" providerId="ADAL" clId="{E6A0457D-E37C-4445-8A05-392CF07B439F}" dt="2021-05-03T15:14:12.041" v="1650" actId="1076"/>
          <ac:spMkLst>
            <pc:docMk/>
            <pc:sldMk cId="4253014505" sldId="703"/>
            <ac:spMk id="81" creationId="{00000000-0000-0000-0000-000000000000}"/>
          </ac:spMkLst>
        </pc:spChg>
        <pc:spChg chg="mod">
          <ac:chgData name="Daphnée Rotenbach" userId="7408d6fd-eaeb-47da-89e0-711fd1361cf1" providerId="ADAL" clId="{E6A0457D-E37C-4445-8A05-392CF07B439F}" dt="2021-05-03T15:14:12.041" v="1650" actId="1076"/>
          <ac:spMkLst>
            <pc:docMk/>
            <pc:sldMk cId="4253014505" sldId="703"/>
            <ac:spMk id="82" creationId="{00000000-0000-0000-0000-000000000000}"/>
          </ac:spMkLst>
        </pc:spChg>
        <pc:spChg chg="mod">
          <ac:chgData name="Daphnée Rotenbach" userId="7408d6fd-eaeb-47da-89e0-711fd1361cf1" providerId="ADAL" clId="{E6A0457D-E37C-4445-8A05-392CF07B439F}" dt="2021-05-03T15:14:12.041" v="1650" actId="1076"/>
          <ac:spMkLst>
            <pc:docMk/>
            <pc:sldMk cId="4253014505" sldId="703"/>
            <ac:spMk id="83" creationId="{00000000-0000-0000-0000-000000000000}"/>
          </ac:spMkLst>
        </pc:spChg>
        <pc:spChg chg="mod">
          <ac:chgData name="Daphnée Rotenbach" userId="7408d6fd-eaeb-47da-89e0-711fd1361cf1" providerId="ADAL" clId="{E6A0457D-E37C-4445-8A05-392CF07B439F}" dt="2021-05-03T15:14:12.041" v="1650" actId="1076"/>
          <ac:spMkLst>
            <pc:docMk/>
            <pc:sldMk cId="4253014505" sldId="703"/>
            <ac:spMk id="84" creationId="{00000000-0000-0000-0000-000000000000}"/>
          </ac:spMkLst>
        </pc:spChg>
        <pc:spChg chg="mod">
          <ac:chgData name="Daphnée Rotenbach" userId="7408d6fd-eaeb-47da-89e0-711fd1361cf1" providerId="ADAL" clId="{E6A0457D-E37C-4445-8A05-392CF07B439F}" dt="2021-05-03T15:14:12.041" v="1650" actId="1076"/>
          <ac:spMkLst>
            <pc:docMk/>
            <pc:sldMk cId="4253014505" sldId="703"/>
            <ac:spMk id="85" creationId="{00000000-0000-0000-0000-000000000000}"/>
          </ac:spMkLst>
        </pc:spChg>
        <pc:spChg chg="mod">
          <ac:chgData name="Daphnée Rotenbach" userId="7408d6fd-eaeb-47da-89e0-711fd1361cf1" providerId="ADAL" clId="{E6A0457D-E37C-4445-8A05-392CF07B439F}" dt="2021-05-03T15:14:12.041" v="1650" actId="1076"/>
          <ac:spMkLst>
            <pc:docMk/>
            <pc:sldMk cId="4253014505" sldId="703"/>
            <ac:spMk id="86" creationId="{00000000-0000-0000-0000-000000000000}"/>
          </ac:spMkLst>
        </pc:spChg>
        <pc:spChg chg="mod">
          <ac:chgData name="Daphnée Rotenbach" userId="7408d6fd-eaeb-47da-89e0-711fd1361cf1" providerId="ADAL" clId="{E6A0457D-E37C-4445-8A05-392CF07B439F}" dt="2021-05-03T15:14:12.041" v="1650" actId="1076"/>
          <ac:spMkLst>
            <pc:docMk/>
            <pc:sldMk cId="4253014505" sldId="703"/>
            <ac:spMk id="87" creationId="{00000000-0000-0000-0000-000000000000}"/>
          </ac:spMkLst>
        </pc:spChg>
        <pc:spChg chg="mod">
          <ac:chgData name="Daphnée Rotenbach" userId="7408d6fd-eaeb-47da-89e0-711fd1361cf1" providerId="ADAL" clId="{E6A0457D-E37C-4445-8A05-392CF07B439F}" dt="2021-05-03T15:14:12.041" v="1650" actId="1076"/>
          <ac:spMkLst>
            <pc:docMk/>
            <pc:sldMk cId="4253014505" sldId="703"/>
            <ac:spMk id="88" creationId="{00000000-0000-0000-0000-000000000000}"/>
          </ac:spMkLst>
        </pc:spChg>
        <pc:spChg chg="mod">
          <ac:chgData name="Daphnée Rotenbach" userId="7408d6fd-eaeb-47da-89e0-711fd1361cf1" providerId="ADAL" clId="{E6A0457D-E37C-4445-8A05-392CF07B439F}" dt="2021-05-03T15:14:12.041" v="1650" actId="1076"/>
          <ac:spMkLst>
            <pc:docMk/>
            <pc:sldMk cId="4253014505" sldId="703"/>
            <ac:spMk id="92" creationId="{00000000-0000-0000-0000-000000000000}"/>
          </ac:spMkLst>
        </pc:spChg>
        <pc:spChg chg="mod">
          <ac:chgData name="Daphnée Rotenbach" userId="7408d6fd-eaeb-47da-89e0-711fd1361cf1" providerId="ADAL" clId="{E6A0457D-E37C-4445-8A05-392CF07B439F}" dt="2021-05-03T15:14:12.041" v="1650" actId="1076"/>
          <ac:spMkLst>
            <pc:docMk/>
            <pc:sldMk cId="4253014505" sldId="703"/>
            <ac:spMk id="93" creationId="{00000000-0000-0000-0000-000000000000}"/>
          </ac:spMkLst>
        </pc:spChg>
        <pc:spChg chg="mod">
          <ac:chgData name="Daphnée Rotenbach" userId="7408d6fd-eaeb-47da-89e0-711fd1361cf1" providerId="ADAL" clId="{E6A0457D-E37C-4445-8A05-392CF07B439F}" dt="2021-05-03T15:14:12.041" v="1650" actId="1076"/>
          <ac:spMkLst>
            <pc:docMk/>
            <pc:sldMk cId="4253014505" sldId="703"/>
            <ac:spMk id="94" creationId="{00000000-0000-0000-0000-000000000000}"/>
          </ac:spMkLst>
        </pc:spChg>
        <pc:spChg chg="mod">
          <ac:chgData name="Daphnée Rotenbach" userId="7408d6fd-eaeb-47da-89e0-711fd1361cf1" providerId="ADAL" clId="{E6A0457D-E37C-4445-8A05-392CF07B439F}" dt="2021-05-03T15:14:12.041" v="1650" actId="1076"/>
          <ac:spMkLst>
            <pc:docMk/>
            <pc:sldMk cId="4253014505" sldId="703"/>
            <ac:spMk id="154" creationId="{00000000-0000-0000-0000-000000000000}"/>
          </ac:spMkLst>
        </pc:spChg>
        <pc:spChg chg="mod">
          <ac:chgData name="Daphnée Rotenbach" userId="7408d6fd-eaeb-47da-89e0-711fd1361cf1" providerId="ADAL" clId="{E6A0457D-E37C-4445-8A05-392CF07B439F}" dt="2021-05-03T15:14:12.041" v="1650" actId="1076"/>
          <ac:spMkLst>
            <pc:docMk/>
            <pc:sldMk cId="4253014505" sldId="703"/>
            <ac:spMk id="155" creationId="{00000000-0000-0000-0000-000000000000}"/>
          </ac:spMkLst>
        </pc:spChg>
        <pc:spChg chg="mod">
          <ac:chgData name="Daphnée Rotenbach" userId="7408d6fd-eaeb-47da-89e0-711fd1361cf1" providerId="ADAL" clId="{E6A0457D-E37C-4445-8A05-392CF07B439F}" dt="2021-05-03T15:14:12.041" v="1650" actId="1076"/>
          <ac:spMkLst>
            <pc:docMk/>
            <pc:sldMk cId="4253014505" sldId="703"/>
            <ac:spMk id="159" creationId="{00000000-0000-0000-0000-000000000000}"/>
          </ac:spMkLst>
        </pc:spChg>
        <pc:spChg chg="mod">
          <ac:chgData name="Daphnée Rotenbach" userId="7408d6fd-eaeb-47da-89e0-711fd1361cf1" providerId="ADAL" clId="{E6A0457D-E37C-4445-8A05-392CF07B439F}" dt="2021-05-03T15:14:12.041" v="1650" actId="1076"/>
          <ac:spMkLst>
            <pc:docMk/>
            <pc:sldMk cId="4253014505" sldId="703"/>
            <ac:spMk id="160" creationId="{00000000-0000-0000-0000-000000000000}"/>
          </ac:spMkLst>
        </pc:spChg>
        <pc:spChg chg="mod">
          <ac:chgData name="Daphnée Rotenbach" userId="7408d6fd-eaeb-47da-89e0-711fd1361cf1" providerId="ADAL" clId="{E6A0457D-E37C-4445-8A05-392CF07B439F}" dt="2021-05-03T15:14:12.041" v="1650" actId="1076"/>
          <ac:spMkLst>
            <pc:docMk/>
            <pc:sldMk cId="4253014505" sldId="703"/>
            <ac:spMk id="162" creationId="{00000000-0000-0000-0000-000000000000}"/>
          </ac:spMkLst>
        </pc:spChg>
        <pc:spChg chg="mod">
          <ac:chgData name="Daphnée Rotenbach" userId="7408d6fd-eaeb-47da-89e0-711fd1361cf1" providerId="ADAL" clId="{E6A0457D-E37C-4445-8A05-392CF07B439F}" dt="2021-05-03T15:14:12.041" v="1650" actId="1076"/>
          <ac:spMkLst>
            <pc:docMk/>
            <pc:sldMk cId="4253014505" sldId="703"/>
            <ac:spMk id="163" creationId="{00000000-0000-0000-0000-000000000000}"/>
          </ac:spMkLst>
        </pc:spChg>
        <pc:spChg chg="mod">
          <ac:chgData name="Daphnée Rotenbach" userId="7408d6fd-eaeb-47da-89e0-711fd1361cf1" providerId="ADAL" clId="{E6A0457D-E37C-4445-8A05-392CF07B439F}" dt="2021-05-03T15:14:12.041" v="1650" actId="1076"/>
          <ac:spMkLst>
            <pc:docMk/>
            <pc:sldMk cId="4253014505" sldId="703"/>
            <ac:spMk id="168" creationId="{00000000-0000-0000-0000-000000000000}"/>
          </ac:spMkLst>
        </pc:spChg>
        <pc:spChg chg="mod">
          <ac:chgData name="Daphnée Rotenbach" userId="7408d6fd-eaeb-47da-89e0-711fd1361cf1" providerId="ADAL" clId="{E6A0457D-E37C-4445-8A05-392CF07B439F}" dt="2021-05-03T15:14:12.041" v="1650" actId="1076"/>
          <ac:spMkLst>
            <pc:docMk/>
            <pc:sldMk cId="4253014505" sldId="703"/>
            <ac:spMk id="169" creationId="{00000000-0000-0000-0000-000000000000}"/>
          </ac:spMkLst>
        </pc:spChg>
        <pc:grpChg chg="mod">
          <ac:chgData name="Daphnée Rotenbach" userId="7408d6fd-eaeb-47da-89e0-711fd1361cf1" providerId="ADAL" clId="{E6A0457D-E37C-4445-8A05-392CF07B439F}" dt="2021-05-03T15:14:12.041" v="1650" actId="1076"/>
          <ac:grpSpMkLst>
            <pc:docMk/>
            <pc:sldMk cId="4253014505" sldId="703"/>
            <ac:grpSpMk id="3" creationId="{00000000-0000-0000-0000-000000000000}"/>
          </ac:grpSpMkLst>
        </pc:grpChg>
        <pc:grpChg chg="mod">
          <ac:chgData name="Daphnée Rotenbach" userId="7408d6fd-eaeb-47da-89e0-711fd1361cf1" providerId="ADAL" clId="{E6A0457D-E37C-4445-8A05-392CF07B439F}" dt="2021-05-03T15:14:12.041" v="1650" actId="1076"/>
          <ac:grpSpMkLst>
            <pc:docMk/>
            <pc:sldMk cId="4253014505" sldId="703"/>
            <ac:grpSpMk id="5" creationId="{32557F55-CA6F-EA41-AA77-A3CEBFB30779}"/>
          </ac:grpSpMkLst>
        </pc:grpChg>
        <pc:grpChg chg="mod">
          <ac:chgData name="Daphnée Rotenbach" userId="7408d6fd-eaeb-47da-89e0-711fd1361cf1" providerId="ADAL" clId="{E6A0457D-E37C-4445-8A05-392CF07B439F}" dt="2021-05-03T15:14:12.041" v="1650" actId="1076"/>
          <ac:grpSpMkLst>
            <pc:docMk/>
            <pc:sldMk cId="4253014505" sldId="703"/>
            <ac:grpSpMk id="8" creationId="{00000000-0000-0000-0000-000000000000}"/>
          </ac:grpSpMkLst>
        </pc:grpChg>
        <pc:grpChg chg="mod">
          <ac:chgData name="Daphnée Rotenbach" userId="7408d6fd-eaeb-47da-89e0-711fd1361cf1" providerId="ADAL" clId="{E6A0457D-E37C-4445-8A05-392CF07B439F}" dt="2021-05-03T15:14:12.041" v="1650" actId="1076"/>
          <ac:grpSpMkLst>
            <pc:docMk/>
            <pc:sldMk cId="4253014505" sldId="703"/>
            <ac:grpSpMk id="9" creationId="{00000000-0000-0000-0000-000000000000}"/>
          </ac:grpSpMkLst>
        </pc:grpChg>
        <pc:grpChg chg="mod">
          <ac:chgData name="Daphnée Rotenbach" userId="7408d6fd-eaeb-47da-89e0-711fd1361cf1" providerId="ADAL" clId="{E6A0457D-E37C-4445-8A05-392CF07B439F}" dt="2021-05-03T15:14:12.041" v="1650" actId="1076"/>
          <ac:grpSpMkLst>
            <pc:docMk/>
            <pc:sldMk cId="4253014505" sldId="703"/>
            <ac:grpSpMk id="13" creationId="{00000000-0000-0000-0000-000000000000}"/>
          </ac:grpSpMkLst>
        </pc:grpChg>
        <pc:grpChg chg="mod">
          <ac:chgData name="Daphnée Rotenbach" userId="7408d6fd-eaeb-47da-89e0-711fd1361cf1" providerId="ADAL" clId="{E6A0457D-E37C-4445-8A05-392CF07B439F}" dt="2021-05-03T15:14:12.041" v="1650" actId="1076"/>
          <ac:grpSpMkLst>
            <pc:docMk/>
            <pc:sldMk cId="4253014505" sldId="703"/>
            <ac:grpSpMk id="14" creationId="{00000000-0000-0000-0000-000000000000}"/>
          </ac:grpSpMkLst>
        </pc:grpChg>
        <pc:grpChg chg="mod">
          <ac:chgData name="Daphnée Rotenbach" userId="7408d6fd-eaeb-47da-89e0-711fd1361cf1" providerId="ADAL" clId="{E6A0457D-E37C-4445-8A05-392CF07B439F}" dt="2021-05-03T15:14:12.041" v="1650" actId="1076"/>
          <ac:grpSpMkLst>
            <pc:docMk/>
            <pc:sldMk cId="4253014505" sldId="703"/>
            <ac:grpSpMk id="15" creationId="{00000000-0000-0000-0000-000000000000}"/>
          </ac:grpSpMkLst>
        </pc:grpChg>
        <pc:grpChg chg="mod">
          <ac:chgData name="Daphnée Rotenbach" userId="7408d6fd-eaeb-47da-89e0-711fd1361cf1" providerId="ADAL" clId="{E6A0457D-E37C-4445-8A05-392CF07B439F}" dt="2021-05-03T15:14:12.041" v="1650" actId="1076"/>
          <ac:grpSpMkLst>
            <pc:docMk/>
            <pc:sldMk cId="4253014505" sldId="703"/>
            <ac:grpSpMk id="26" creationId="{00000000-0000-0000-0000-000000000000}"/>
          </ac:grpSpMkLst>
        </pc:grpChg>
        <pc:grpChg chg="mod">
          <ac:chgData name="Daphnée Rotenbach" userId="7408d6fd-eaeb-47da-89e0-711fd1361cf1" providerId="ADAL" clId="{E6A0457D-E37C-4445-8A05-392CF07B439F}" dt="2021-05-03T15:14:12.041" v="1650" actId="1076"/>
          <ac:grpSpMkLst>
            <pc:docMk/>
            <pc:sldMk cId="4253014505" sldId="703"/>
            <ac:grpSpMk id="27" creationId="{00000000-0000-0000-0000-000000000000}"/>
          </ac:grpSpMkLst>
        </pc:grpChg>
        <pc:grpChg chg="mod">
          <ac:chgData name="Daphnée Rotenbach" userId="7408d6fd-eaeb-47da-89e0-711fd1361cf1" providerId="ADAL" clId="{E6A0457D-E37C-4445-8A05-392CF07B439F}" dt="2021-05-03T15:14:12.041" v="1650" actId="1076"/>
          <ac:grpSpMkLst>
            <pc:docMk/>
            <pc:sldMk cId="4253014505" sldId="703"/>
            <ac:grpSpMk id="153" creationId="{00000000-0000-0000-0000-000000000000}"/>
          </ac:grpSpMkLst>
        </pc:grpChg>
        <pc:grpChg chg="mod">
          <ac:chgData name="Daphnée Rotenbach" userId="7408d6fd-eaeb-47da-89e0-711fd1361cf1" providerId="ADAL" clId="{E6A0457D-E37C-4445-8A05-392CF07B439F}" dt="2021-05-03T15:14:12.041" v="1650" actId="1076"/>
          <ac:grpSpMkLst>
            <pc:docMk/>
            <pc:sldMk cId="4253014505" sldId="703"/>
            <ac:grpSpMk id="158" creationId="{00000000-0000-0000-0000-000000000000}"/>
          </ac:grpSpMkLst>
        </pc:grpChg>
        <pc:grpChg chg="mod">
          <ac:chgData name="Daphnée Rotenbach" userId="7408d6fd-eaeb-47da-89e0-711fd1361cf1" providerId="ADAL" clId="{E6A0457D-E37C-4445-8A05-392CF07B439F}" dt="2021-05-03T15:14:12.041" v="1650" actId="1076"/>
          <ac:grpSpMkLst>
            <pc:docMk/>
            <pc:sldMk cId="4253014505" sldId="703"/>
            <ac:grpSpMk id="161" creationId="{00000000-0000-0000-0000-000000000000}"/>
          </ac:grpSpMkLst>
        </pc:grpChg>
        <pc:grpChg chg="mod">
          <ac:chgData name="Daphnée Rotenbach" userId="7408d6fd-eaeb-47da-89e0-711fd1361cf1" providerId="ADAL" clId="{E6A0457D-E37C-4445-8A05-392CF07B439F}" dt="2021-05-03T15:14:12.041" v="1650" actId="1076"/>
          <ac:grpSpMkLst>
            <pc:docMk/>
            <pc:sldMk cId="4253014505" sldId="703"/>
            <ac:grpSpMk id="167" creationId="{00000000-0000-0000-0000-000000000000}"/>
          </ac:grpSpMkLst>
        </pc:grpChg>
        <pc:picChg chg="del">
          <ac:chgData name="Daphnée Rotenbach" userId="7408d6fd-eaeb-47da-89e0-711fd1361cf1" providerId="ADAL" clId="{E6A0457D-E37C-4445-8A05-392CF07B439F}" dt="2021-05-03T15:11:51.976" v="1585" actId="478"/>
          <ac:picMkLst>
            <pc:docMk/>
            <pc:sldMk cId="4253014505" sldId="703"/>
            <ac:picMk id="49" creationId="{DAE54FE4-EFCF-384C-9632-50B3E7B1EF78}"/>
          </ac:picMkLst>
        </pc:picChg>
        <pc:picChg chg="del">
          <ac:chgData name="Daphnée Rotenbach" userId="7408d6fd-eaeb-47da-89e0-711fd1361cf1" providerId="ADAL" clId="{E6A0457D-E37C-4445-8A05-392CF07B439F}" dt="2021-05-03T15:11:51.976" v="1585" actId="478"/>
          <ac:picMkLst>
            <pc:docMk/>
            <pc:sldMk cId="4253014505" sldId="703"/>
            <ac:picMk id="50" creationId="{10B033F5-FD3F-534A-BEDB-4C26E7942C73}"/>
          </ac:picMkLst>
        </pc:picChg>
        <pc:picChg chg="del">
          <ac:chgData name="Daphnée Rotenbach" userId="7408d6fd-eaeb-47da-89e0-711fd1361cf1" providerId="ADAL" clId="{E6A0457D-E37C-4445-8A05-392CF07B439F}" dt="2021-05-03T15:11:53.209" v="1586" actId="478"/>
          <ac:picMkLst>
            <pc:docMk/>
            <pc:sldMk cId="4253014505" sldId="703"/>
            <ac:picMk id="52" creationId="{9E815A15-E5C1-F341-9A6C-07B96A647959}"/>
          </ac:picMkLst>
        </pc:picChg>
        <pc:picChg chg="mod">
          <ac:chgData name="Daphnée Rotenbach" userId="7408d6fd-eaeb-47da-89e0-711fd1361cf1" providerId="ADAL" clId="{E6A0457D-E37C-4445-8A05-392CF07B439F}" dt="2021-05-03T15:14:12.041" v="1650" actId="1076"/>
          <ac:picMkLst>
            <pc:docMk/>
            <pc:sldMk cId="4253014505" sldId="703"/>
            <ac:picMk id="146" creationId="{00000000-0000-0000-0000-000000000000}"/>
          </ac:picMkLst>
        </pc:picChg>
        <pc:picChg chg="mod">
          <ac:chgData name="Daphnée Rotenbach" userId="7408d6fd-eaeb-47da-89e0-711fd1361cf1" providerId="ADAL" clId="{E6A0457D-E37C-4445-8A05-392CF07B439F}" dt="2021-05-03T15:14:12.041" v="1650" actId="1076"/>
          <ac:picMkLst>
            <pc:docMk/>
            <pc:sldMk cId="4253014505" sldId="703"/>
            <ac:picMk id="147" creationId="{00000000-0000-0000-0000-000000000000}"/>
          </ac:picMkLst>
        </pc:picChg>
        <pc:picChg chg="mod">
          <ac:chgData name="Daphnée Rotenbach" userId="7408d6fd-eaeb-47da-89e0-711fd1361cf1" providerId="ADAL" clId="{E6A0457D-E37C-4445-8A05-392CF07B439F}" dt="2021-05-03T15:14:12.041" v="1650" actId="1076"/>
          <ac:picMkLst>
            <pc:docMk/>
            <pc:sldMk cId="4253014505" sldId="703"/>
            <ac:picMk id="149" creationId="{00000000-0000-0000-0000-000000000000}"/>
          </ac:picMkLst>
        </pc:picChg>
        <pc:picChg chg="mod">
          <ac:chgData name="Daphnée Rotenbach" userId="7408d6fd-eaeb-47da-89e0-711fd1361cf1" providerId="ADAL" clId="{E6A0457D-E37C-4445-8A05-392CF07B439F}" dt="2021-05-03T15:14:12.041" v="1650" actId="1076"/>
          <ac:picMkLst>
            <pc:docMk/>
            <pc:sldMk cId="4253014505" sldId="703"/>
            <ac:picMk id="150" creationId="{00000000-0000-0000-0000-000000000000}"/>
          </ac:picMkLst>
        </pc:picChg>
        <pc:picChg chg="mod">
          <ac:chgData name="Daphnée Rotenbach" userId="7408d6fd-eaeb-47da-89e0-711fd1361cf1" providerId="ADAL" clId="{E6A0457D-E37C-4445-8A05-392CF07B439F}" dt="2021-05-03T15:14:12.041" v="1650" actId="1076"/>
          <ac:picMkLst>
            <pc:docMk/>
            <pc:sldMk cId="4253014505" sldId="703"/>
            <ac:picMk id="151" creationId="{00000000-0000-0000-0000-000000000000}"/>
          </ac:picMkLst>
        </pc:picChg>
        <pc:picChg chg="mod">
          <ac:chgData name="Daphnée Rotenbach" userId="7408d6fd-eaeb-47da-89e0-711fd1361cf1" providerId="ADAL" clId="{E6A0457D-E37C-4445-8A05-392CF07B439F}" dt="2021-05-03T15:14:12.041" v="1650" actId="1076"/>
          <ac:picMkLst>
            <pc:docMk/>
            <pc:sldMk cId="4253014505" sldId="703"/>
            <ac:picMk id="152" creationId="{00000000-0000-0000-0000-000000000000}"/>
          </ac:picMkLst>
        </pc:picChg>
        <pc:picChg chg="mod">
          <ac:chgData name="Daphnée Rotenbach" userId="7408d6fd-eaeb-47da-89e0-711fd1361cf1" providerId="ADAL" clId="{E6A0457D-E37C-4445-8A05-392CF07B439F}" dt="2021-05-03T15:14:12.041" v="1650" actId="1076"/>
          <ac:picMkLst>
            <pc:docMk/>
            <pc:sldMk cId="4253014505" sldId="703"/>
            <ac:picMk id="157" creationId="{00000000-0000-0000-0000-000000000000}"/>
          </ac:picMkLst>
        </pc:picChg>
        <pc:picChg chg="mod">
          <ac:chgData name="Daphnée Rotenbach" userId="7408d6fd-eaeb-47da-89e0-711fd1361cf1" providerId="ADAL" clId="{E6A0457D-E37C-4445-8A05-392CF07B439F}" dt="2021-05-03T15:14:12.041" v="1650" actId="1076"/>
          <ac:picMkLst>
            <pc:docMk/>
            <pc:sldMk cId="4253014505" sldId="703"/>
            <ac:picMk id="175" creationId="{00000000-0000-0000-0000-000000000000}"/>
          </ac:picMkLst>
        </pc:picChg>
        <pc:picChg chg="mod">
          <ac:chgData name="Daphnée Rotenbach" userId="7408d6fd-eaeb-47da-89e0-711fd1361cf1" providerId="ADAL" clId="{E6A0457D-E37C-4445-8A05-392CF07B439F}" dt="2021-05-03T15:14:12.041" v="1650" actId="1076"/>
          <ac:picMkLst>
            <pc:docMk/>
            <pc:sldMk cId="4253014505" sldId="703"/>
            <ac:picMk id="176" creationId="{00000000-0000-0000-0000-000000000000}"/>
          </ac:picMkLst>
        </pc:picChg>
      </pc:sldChg>
      <pc:sldChg chg="add del">
        <pc:chgData name="Daphnée Rotenbach" userId="7408d6fd-eaeb-47da-89e0-711fd1361cf1" providerId="ADAL" clId="{E6A0457D-E37C-4445-8A05-392CF07B439F}" dt="2021-05-03T14:55:10.957" v="1550" actId="47"/>
        <pc:sldMkLst>
          <pc:docMk/>
          <pc:sldMk cId="2047519441" sldId="759"/>
        </pc:sldMkLst>
      </pc:sldChg>
      <pc:sldChg chg="addSp modSp add del mod">
        <pc:chgData name="Daphnée Rotenbach" userId="7408d6fd-eaeb-47da-89e0-711fd1361cf1" providerId="ADAL" clId="{E6A0457D-E37C-4445-8A05-392CF07B439F}" dt="2021-05-03T14:49:54.605" v="1529" actId="47"/>
        <pc:sldMkLst>
          <pc:docMk/>
          <pc:sldMk cId="3199270140" sldId="760"/>
        </pc:sldMkLst>
        <pc:spChg chg="add mod">
          <ac:chgData name="Daphnée Rotenbach" userId="7408d6fd-eaeb-47da-89e0-711fd1361cf1" providerId="ADAL" clId="{E6A0457D-E37C-4445-8A05-392CF07B439F}" dt="2021-04-21T14:15:49.552" v="217" actId="1076"/>
          <ac:spMkLst>
            <pc:docMk/>
            <pc:sldMk cId="3199270140" sldId="760"/>
            <ac:spMk id="37" creationId="{2E90700F-04A8-4F55-9DB3-E8FFA9092ED4}"/>
          </ac:spMkLst>
        </pc:spChg>
      </pc:sldChg>
      <pc:sldChg chg="addSp delSp modSp add mod">
        <pc:chgData name="Daphnée Rotenbach" userId="7408d6fd-eaeb-47da-89e0-711fd1361cf1" providerId="ADAL" clId="{E6A0457D-E37C-4445-8A05-392CF07B439F}" dt="2021-05-05T09:38:22.156" v="1777" actId="478"/>
        <pc:sldMkLst>
          <pc:docMk/>
          <pc:sldMk cId="2964169658" sldId="793"/>
        </pc:sldMkLst>
        <pc:spChg chg="mod">
          <ac:chgData name="Daphnée Rotenbach" userId="7408d6fd-eaeb-47da-89e0-711fd1361cf1" providerId="ADAL" clId="{E6A0457D-E37C-4445-8A05-392CF07B439F}" dt="2021-05-05T09:38:20.197" v="1776" actId="20577"/>
          <ac:spMkLst>
            <pc:docMk/>
            <pc:sldMk cId="2964169658" sldId="793"/>
            <ac:spMk id="2" creationId="{00000000-0000-0000-0000-000000000000}"/>
          </ac:spMkLst>
        </pc:spChg>
        <pc:spChg chg="add del mod">
          <ac:chgData name="Daphnée Rotenbach" userId="7408d6fd-eaeb-47da-89e0-711fd1361cf1" providerId="ADAL" clId="{E6A0457D-E37C-4445-8A05-392CF07B439F}" dt="2021-05-05T09:38:22.156" v="1777" actId="478"/>
          <ac:spMkLst>
            <pc:docMk/>
            <pc:sldMk cId="2964169658" sldId="793"/>
            <ac:spMk id="3" creationId="{993D088F-3F90-4113-9162-7CCAE77EEE9D}"/>
          </ac:spMkLst>
        </pc:spChg>
      </pc:sldChg>
      <pc:sldChg chg="delSp add del mod">
        <pc:chgData name="Daphnée Rotenbach" userId="7408d6fd-eaeb-47da-89e0-711fd1361cf1" providerId="ADAL" clId="{E6A0457D-E37C-4445-8A05-392CF07B439F}" dt="2021-05-03T12:13:27.951" v="396" actId="47"/>
        <pc:sldMkLst>
          <pc:docMk/>
          <pc:sldMk cId="1086631396" sldId="822"/>
        </pc:sldMkLst>
        <pc:spChg chg="del">
          <ac:chgData name="Daphnée Rotenbach" userId="7408d6fd-eaeb-47da-89e0-711fd1361cf1" providerId="ADAL" clId="{E6A0457D-E37C-4445-8A05-392CF07B439F}" dt="2021-05-03T12:12:12.664" v="388" actId="478"/>
          <ac:spMkLst>
            <pc:docMk/>
            <pc:sldMk cId="1086631396" sldId="822"/>
            <ac:spMk id="15" creationId="{E1DA6B0F-72C3-6246-90E1-BB3E8CEDF479}"/>
          </ac:spMkLst>
        </pc:spChg>
      </pc:sldChg>
      <pc:sldChg chg="addSp modSp add del mod">
        <pc:chgData name="Daphnée Rotenbach" userId="7408d6fd-eaeb-47da-89e0-711fd1361cf1" providerId="ADAL" clId="{E6A0457D-E37C-4445-8A05-392CF07B439F}" dt="2021-05-05T09:35:51.398" v="1768" actId="47"/>
        <pc:sldMkLst>
          <pc:docMk/>
          <pc:sldMk cId="3327632995" sldId="834"/>
        </pc:sldMkLst>
        <pc:spChg chg="add mod">
          <ac:chgData name="Daphnée Rotenbach" userId="7408d6fd-eaeb-47da-89e0-711fd1361cf1" providerId="ADAL" clId="{E6A0457D-E37C-4445-8A05-392CF07B439F}" dt="2021-05-03T15:11:38.181" v="1583" actId="1076"/>
          <ac:spMkLst>
            <pc:docMk/>
            <pc:sldMk cId="3327632995" sldId="834"/>
            <ac:spMk id="12" creationId="{E334CBFC-8838-4676-88C0-45A0A751D9DF}"/>
          </ac:spMkLst>
        </pc:spChg>
      </pc:sldChg>
      <pc:sldChg chg="addSp delSp modSp add del mod">
        <pc:chgData name="Daphnée Rotenbach" userId="7408d6fd-eaeb-47da-89e0-711fd1361cf1" providerId="ADAL" clId="{E6A0457D-E37C-4445-8A05-392CF07B439F}" dt="2021-05-03T14:24:16.759" v="1311" actId="47"/>
        <pc:sldMkLst>
          <pc:docMk/>
          <pc:sldMk cId="514148679" sldId="838"/>
        </pc:sldMkLst>
        <pc:spChg chg="add del mod">
          <ac:chgData name="Daphnée Rotenbach" userId="7408d6fd-eaeb-47da-89e0-711fd1361cf1" providerId="ADAL" clId="{E6A0457D-E37C-4445-8A05-392CF07B439F}" dt="2021-05-03T14:18:38.815" v="1251" actId="478"/>
          <ac:spMkLst>
            <pc:docMk/>
            <pc:sldMk cId="514148679" sldId="838"/>
            <ac:spMk id="2" creationId="{004F43B0-DF58-4B30-A467-EA07E62E3D99}"/>
          </ac:spMkLst>
        </pc:spChg>
        <pc:spChg chg="del">
          <ac:chgData name="Daphnée Rotenbach" userId="7408d6fd-eaeb-47da-89e0-711fd1361cf1" providerId="ADAL" clId="{E6A0457D-E37C-4445-8A05-392CF07B439F}" dt="2021-05-03T14:18:31.823" v="1247" actId="478"/>
          <ac:spMkLst>
            <pc:docMk/>
            <pc:sldMk cId="514148679" sldId="838"/>
            <ac:spMk id="3" creationId="{00000000-0000-0000-0000-000000000000}"/>
          </ac:spMkLst>
        </pc:spChg>
        <pc:spChg chg="add del mod">
          <ac:chgData name="Daphnée Rotenbach" userId="7408d6fd-eaeb-47da-89e0-711fd1361cf1" providerId="ADAL" clId="{E6A0457D-E37C-4445-8A05-392CF07B439F}" dt="2021-05-03T14:18:35.834" v="1249" actId="478"/>
          <ac:spMkLst>
            <pc:docMk/>
            <pc:sldMk cId="514148679" sldId="838"/>
            <ac:spMk id="36" creationId="{F1AB3BF0-9821-4B5B-98DF-E9A792052EF6}"/>
          </ac:spMkLst>
        </pc:spChg>
        <pc:spChg chg="del">
          <ac:chgData name="Daphnée Rotenbach" userId="7408d6fd-eaeb-47da-89e0-711fd1361cf1" providerId="ADAL" clId="{E6A0457D-E37C-4445-8A05-392CF07B439F}" dt="2021-05-03T14:20:43.580" v="1269" actId="478"/>
          <ac:spMkLst>
            <pc:docMk/>
            <pc:sldMk cId="514148679" sldId="838"/>
            <ac:spMk id="72" creationId="{00000000-0000-0000-0000-000000000000}"/>
          </ac:spMkLst>
        </pc:spChg>
        <pc:spChg chg="del">
          <ac:chgData name="Daphnée Rotenbach" userId="7408d6fd-eaeb-47da-89e0-711fd1361cf1" providerId="ADAL" clId="{E6A0457D-E37C-4445-8A05-392CF07B439F}" dt="2021-05-03T14:21:34.171" v="1283" actId="478"/>
          <ac:spMkLst>
            <pc:docMk/>
            <pc:sldMk cId="514148679" sldId="838"/>
            <ac:spMk id="73" creationId="{00000000-0000-0000-0000-000000000000}"/>
          </ac:spMkLst>
        </pc:spChg>
        <pc:spChg chg="del">
          <ac:chgData name="Daphnée Rotenbach" userId="7408d6fd-eaeb-47da-89e0-711fd1361cf1" providerId="ADAL" clId="{E6A0457D-E37C-4445-8A05-392CF07B439F}" dt="2021-05-03T14:21:42.930" v="1285" actId="478"/>
          <ac:spMkLst>
            <pc:docMk/>
            <pc:sldMk cId="514148679" sldId="838"/>
            <ac:spMk id="74" creationId="{00000000-0000-0000-0000-000000000000}"/>
          </ac:spMkLst>
        </pc:spChg>
        <pc:spChg chg="del">
          <ac:chgData name="Daphnée Rotenbach" userId="7408d6fd-eaeb-47da-89e0-711fd1361cf1" providerId="ADAL" clId="{E6A0457D-E37C-4445-8A05-392CF07B439F}" dt="2021-05-03T14:23:19.041" v="1300" actId="478"/>
          <ac:spMkLst>
            <pc:docMk/>
            <pc:sldMk cId="514148679" sldId="838"/>
            <ac:spMk id="76" creationId="{00000000-0000-0000-0000-000000000000}"/>
          </ac:spMkLst>
        </pc:spChg>
        <pc:spChg chg="del">
          <ac:chgData name="Daphnée Rotenbach" userId="7408d6fd-eaeb-47da-89e0-711fd1361cf1" providerId="ADAL" clId="{E6A0457D-E37C-4445-8A05-392CF07B439F}" dt="2021-05-03T14:19:30.087" v="1253" actId="478"/>
          <ac:spMkLst>
            <pc:docMk/>
            <pc:sldMk cId="514148679" sldId="838"/>
            <ac:spMk id="90" creationId="{00000000-0000-0000-0000-000000000000}"/>
          </ac:spMkLst>
        </pc:spChg>
        <pc:spChg chg="del">
          <ac:chgData name="Daphnée Rotenbach" userId="7408d6fd-eaeb-47da-89e0-711fd1361cf1" providerId="ADAL" clId="{E6A0457D-E37C-4445-8A05-392CF07B439F}" dt="2021-05-03T14:19:46.134" v="1255" actId="478"/>
          <ac:spMkLst>
            <pc:docMk/>
            <pc:sldMk cId="514148679" sldId="838"/>
            <ac:spMk id="107" creationId="{00000000-0000-0000-0000-000000000000}"/>
          </ac:spMkLst>
        </pc:spChg>
        <pc:spChg chg="del">
          <ac:chgData name="Daphnée Rotenbach" userId="7408d6fd-eaeb-47da-89e0-711fd1361cf1" providerId="ADAL" clId="{E6A0457D-E37C-4445-8A05-392CF07B439F}" dt="2021-05-03T14:20:00.580" v="1257" actId="478"/>
          <ac:spMkLst>
            <pc:docMk/>
            <pc:sldMk cId="514148679" sldId="838"/>
            <ac:spMk id="115" creationId="{00000000-0000-0000-0000-000000000000}"/>
          </ac:spMkLst>
        </pc:spChg>
        <pc:spChg chg="del">
          <ac:chgData name="Daphnée Rotenbach" userId="7408d6fd-eaeb-47da-89e0-711fd1361cf1" providerId="ADAL" clId="{E6A0457D-E37C-4445-8A05-392CF07B439F}" dt="2021-05-03T14:22:53.358" v="1296" actId="478"/>
          <ac:spMkLst>
            <pc:docMk/>
            <pc:sldMk cId="514148679" sldId="838"/>
            <ac:spMk id="117" creationId="{00000000-0000-0000-0000-000000000000}"/>
          </ac:spMkLst>
        </pc:spChg>
        <pc:spChg chg="del">
          <ac:chgData name="Daphnée Rotenbach" userId="7408d6fd-eaeb-47da-89e0-711fd1361cf1" providerId="ADAL" clId="{E6A0457D-E37C-4445-8A05-392CF07B439F}" dt="2021-05-03T14:22:55.797" v="1297" actId="478"/>
          <ac:spMkLst>
            <pc:docMk/>
            <pc:sldMk cId="514148679" sldId="838"/>
            <ac:spMk id="118" creationId="{00000000-0000-0000-0000-000000000000}"/>
          </ac:spMkLst>
        </pc:spChg>
        <pc:spChg chg="del">
          <ac:chgData name="Daphnée Rotenbach" userId="7408d6fd-eaeb-47da-89e0-711fd1361cf1" providerId="ADAL" clId="{E6A0457D-E37C-4445-8A05-392CF07B439F}" dt="2021-05-03T14:22:03.079" v="1289" actId="478"/>
          <ac:spMkLst>
            <pc:docMk/>
            <pc:sldMk cId="514148679" sldId="838"/>
            <ac:spMk id="120" creationId="{00000000-0000-0000-0000-000000000000}"/>
          </ac:spMkLst>
        </pc:spChg>
        <pc:grpChg chg="del mod">
          <ac:chgData name="Daphnée Rotenbach" userId="7408d6fd-eaeb-47da-89e0-711fd1361cf1" providerId="ADAL" clId="{E6A0457D-E37C-4445-8A05-392CF07B439F}" dt="2021-05-03T14:19:46.134" v="1255" actId="478"/>
          <ac:grpSpMkLst>
            <pc:docMk/>
            <pc:sldMk cId="514148679" sldId="838"/>
            <ac:grpSpMk id="5" creationId="{00000000-0000-0000-0000-000000000000}"/>
          </ac:grpSpMkLst>
        </pc:grpChg>
        <pc:grpChg chg="del mod">
          <ac:chgData name="Daphnée Rotenbach" userId="7408d6fd-eaeb-47da-89e0-711fd1361cf1" providerId="ADAL" clId="{E6A0457D-E37C-4445-8A05-392CF07B439F}" dt="2021-05-03T14:19:30.087" v="1253" actId="478"/>
          <ac:grpSpMkLst>
            <pc:docMk/>
            <pc:sldMk cId="514148679" sldId="838"/>
            <ac:grpSpMk id="8" creationId="{00000000-0000-0000-0000-000000000000}"/>
          </ac:grpSpMkLst>
        </pc:grpChg>
        <pc:grpChg chg="del mod">
          <ac:chgData name="Daphnée Rotenbach" userId="7408d6fd-eaeb-47da-89e0-711fd1361cf1" providerId="ADAL" clId="{E6A0457D-E37C-4445-8A05-392CF07B439F}" dt="2021-05-03T14:20:00.580" v="1257" actId="478"/>
          <ac:grpSpMkLst>
            <pc:docMk/>
            <pc:sldMk cId="514148679" sldId="838"/>
            <ac:grpSpMk id="114" creationId="{00000000-0000-0000-0000-000000000000}"/>
          </ac:grpSpMkLst>
        </pc:grpChg>
        <pc:cxnChg chg="mod">
          <ac:chgData name="Daphnée Rotenbach" userId="7408d6fd-eaeb-47da-89e0-711fd1361cf1" providerId="ADAL" clId="{E6A0457D-E37C-4445-8A05-392CF07B439F}" dt="2021-05-03T14:19:30.087" v="1253" actId="478"/>
          <ac:cxnSpMkLst>
            <pc:docMk/>
            <pc:sldMk cId="514148679" sldId="838"/>
            <ac:cxnSpMk id="17" creationId="{00000000-0000-0000-0000-000000000000}"/>
          </ac:cxnSpMkLst>
        </pc:cxnChg>
        <pc:cxnChg chg="mod">
          <ac:chgData name="Daphnée Rotenbach" userId="7408d6fd-eaeb-47da-89e0-711fd1361cf1" providerId="ADAL" clId="{E6A0457D-E37C-4445-8A05-392CF07B439F}" dt="2021-05-03T14:19:46.134" v="1255" actId="478"/>
          <ac:cxnSpMkLst>
            <pc:docMk/>
            <pc:sldMk cId="514148679" sldId="838"/>
            <ac:cxnSpMk id="108" creationId="{00000000-0000-0000-0000-000000000000}"/>
          </ac:cxnSpMkLst>
        </pc:cxnChg>
        <pc:cxnChg chg="mod">
          <ac:chgData name="Daphnée Rotenbach" userId="7408d6fd-eaeb-47da-89e0-711fd1361cf1" providerId="ADAL" clId="{E6A0457D-E37C-4445-8A05-392CF07B439F}" dt="2021-05-03T14:20:00.580" v="1257" actId="478"/>
          <ac:cxnSpMkLst>
            <pc:docMk/>
            <pc:sldMk cId="514148679" sldId="838"/>
            <ac:cxnSpMk id="116" creationId="{00000000-0000-0000-0000-000000000000}"/>
          </ac:cxnSpMkLst>
        </pc:cxnChg>
      </pc:sldChg>
      <pc:sldChg chg="addSp modSp add del mod">
        <pc:chgData name="Daphnée Rotenbach" userId="7408d6fd-eaeb-47da-89e0-711fd1361cf1" providerId="ADAL" clId="{E6A0457D-E37C-4445-8A05-392CF07B439F}" dt="2021-05-03T14:56:10.449" v="1574" actId="1076"/>
        <pc:sldMkLst>
          <pc:docMk/>
          <pc:sldMk cId="1649592584" sldId="903"/>
        </pc:sldMkLst>
        <pc:spChg chg="mod">
          <ac:chgData name="Daphnée Rotenbach" userId="7408d6fd-eaeb-47da-89e0-711fd1361cf1" providerId="ADAL" clId="{E6A0457D-E37C-4445-8A05-392CF07B439F}" dt="2021-04-21T14:22:02.085" v="260"/>
          <ac:spMkLst>
            <pc:docMk/>
            <pc:sldMk cId="1649592584" sldId="903"/>
            <ac:spMk id="2" creationId="{A1A656EF-0E48-0E40-A8F5-E758C08F7F46}"/>
          </ac:spMkLst>
        </pc:spChg>
        <pc:spChg chg="add mod">
          <ac:chgData name="Daphnée Rotenbach" userId="7408d6fd-eaeb-47da-89e0-711fd1361cf1" providerId="ADAL" clId="{E6A0457D-E37C-4445-8A05-392CF07B439F}" dt="2021-05-03T14:56:10.449" v="1574" actId="1076"/>
          <ac:spMkLst>
            <pc:docMk/>
            <pc:sldMk cId="1649592584" sldId="903"/>
            <ac:spMk id="5" creationId="{917C5E76-3264-4E65-9380-09B81817E32A}"/>
          </ac:spMkLst>
        </pc:spChg>
      </pc:sldChg>
      <pc:sldChg chg="addSp modSp add del mod">
        <pc:chgData name="Daphnée Rotenbach" userId="7408d6fd-eaeb-47da-89e0-711fd1361cf1" providerId="ADAL" clId="{E6A0457D-E37C-4445-8A05-392CF07B439F}" dt="2021-05-03T14:56:13.882" v="1576" actId="1076"/>
        <pc:sldMkLst>
          <pc:docMk/>
          <pc:sldMk cId="2036518031" sldId="904"/>
        </pc:sldMkLst>
        <pc:spChg chg="mod">
          <ac:chgData name="Daphnée Rotenbach" userId="7408d6fd-eaeb-47da-89e0-711fd1361cf1" providerId="ADAL" clId="{E6A0457D-E37C-4445-8A05-392CF07B439F}" dt="2021-04-21T14:22:02.085" v="260"/>
          <ac:spMkLst>
            <pc:docMk/>
            <pc:sldMk cId="2036518031" sldId="904"/>
            <ac:spMk id="2" creationId="{A1A656EF-0E48-0E40-A8F5-E758C08F7F46}"/>
          </ac:spMkLst>
        </pc:spChg>
        <pc:spChg chg="add mod">
          <ac:chgData name="Daphnée Rotenbach" userId="7408d6fd-eaeb-47da-89e0-711fd1361cf1" providerId="ADAL" clId="{E6A0457D-E37C-4445-8A05-392CF07B439F}" dt="2021-05-03T14:56:13.882" v="1576" actId="1076"/>
          <ac:spMkLst>
            <pc:docMk/>
            <pc:sldMk cId="2036518031" sldId="904"/>
            <ac:spMk id="5" creationId="{EE443791-F9F1-4F1F-886A-457DF9D929D2}"/>
          </ac:spMkLst>
        </pc:spChg>
      </pc:sldChg>
      <pc:sldChg chg="addSp modSp add del mod">
        <pc:chgData name="Daphnée Rotenbach" userId="7408d6fd-eaeb-47da-89e0-711fd1361cf1" providerId="ADAL" clId="{E6A0457D-E37C-4445-8A05-392CF07B439F}" dt="2021-05-03T14:56:18.219" v="1578" actId="1076"/>
        <pc:sldMkLst>
          <pc:docMk/>
          <pc:sldMk cId="675096954" sldId="905"/>
        </pc:sldMkLst>
        <pc:spChg chg="mod">
          <ac:chgData name="Daphnée Rotenbach" userId="7408d6fd-eaeb-47da-89e0-711fd1361cf1" providerId="ADAL" clId="{E6A0457D-E37C-4445-8A05-392CF07B439F}" dt="2021-04-21T14:22:02.085" v="260"/>
          <ac:spMkLst>
            <pc:docMk/>
            <pc:sldMk cId="675096954" sldId="905"/>
            <ac:spMk id="2" creationId="{F760BC20-255D-DC48-9EBC-BE1FC12722C3}"/>
          </ac:spMkLst>
        </pc:spChg>
        <pc:spChg chg="add mod">
          <ac:chgData name="Daphnée Rotenbach" userId="7408d6fd-eaeb-47da-89e0-711fd1361cf1" providerId="ADAL" clId="{E6A0457D-E37C-4445-8A05-392CF07B439F}" dt="2021-05-03T14:56:18.219" v="1578" actId="1076"/>
          <ac:spMkLst>
            <pc:docMk/>
            <pc:sldMk cId="675096954" sldId="905"/>
            <ac:spMk id="10" creationId="{859A51D4-279C-492E-A9EE-42B70F50D07A}"/>
          </ac:spMkLst>
        </pc:spChg>
      </pc:sldChg>
      <pc:sldChg chg="addSp modSp add del">
        <pc:chgData name="Daphnée Rotenbach" userId="7408d6fd-eaeb-47da-89e0-711fd1361cf1" providerId="ADAL" clId="{E6A0457D-E37C-4445-8A05-392CF07B439F}" dt="2021-05-03T14:56:19.715" v="1579"/>
        <pc:sldMkLst>
          <pc:docMk/>
          <pc:sldMk cId="2653969320" sldId="906"/>
        </pc:sldMkLst>
        <pc:spChg chg="add mod">
          <ac:chgData name="Daphnée Rotenbach" userId="7408d6fd-eaeb-47da-89e0-711fd1361cf1" providerId="ADAL" clId="{E6A0457D-E37C-4445-8A05-392CF07B439F}" dt="2021-05-03T14:56:19.715" v="1579"/>
          <ac:spMkLst>
            <pc:docMk/>
            <pc:sldMk cId="2653969320" sldId="906"/>
            <ac:spMk id="5" creationId="{02D3ABDE-A8F4-46A2-A91C-3E1F03A3016E}"/>
          </ac:spMkLst>
        </pc:spChg>
      </pc:sldChg>
      <pc:sldChg chg="addSp delSp modSp add mod">
        <pc:chgData name="Daphnée Rotenbach" userId="7408d6fd-eaeb-47da-89e0-711fd1361cf1" providerId="ADAL" clId="{E6A0457D-E37C-4445-8A05-392CF07B439F}" dt="2021-05-03T15:35:07.872" v="1763" actId="13782"/>
        <pc:sldMkLst>
          <pc:docMk/>
          <pc:sldMk cId="880977745" sldId="1096"/>
        </pc:sldMkLst>
        <pc:spChg chg="add del mod">
          <ac:chgData name="Daphnée Rotenbach" userId="7408d6fd-eaeb-47da-89e0-711fd1361cf1" providerId="ADAL" clId="{E6A0457D-E37C-4445-8A05-392CF07B439F}" dt="2021-05-03T14:28:23.885" v="1323" actId="478"/>
          <ac:spMkLst>
            <pc:docMk/>
            <pc:sldMk cId="880977745" sldId="1096"/>
            <ac:spMk id="3" creationId="{2E36EA87-C013-482E-A15D-2C6D43D952CC}"/>
          </ac:spMkLst>
        </pc:spChg>
        <pc:spChg chg="del">
          <ac:chgData name="Daphnée Rotenbach" userId="7408d6fd-eaeb-47da-89e0-711fd1361cf1" providerId="ADAL" clId="{E6A0457D-E37C-4445-8A05-392CF07B439F}" dt="2021-05-03T14:28:26.435" v="1324" actId="478"/>
          <ac:spMkLst>
            <pc:docMk/>
            <pc:sldMk cId="880977745" sldId="1096"/>
            <ac:spMk id="4" creationId="{C13DF7C2-971C-4DC6-8F77-CC275EEA862A}"/>
          </ac:spMkLst>
        </pc:spChg>
        <pc:spChg chg="del">
          <ac:chgData name="Daphnée Rotenbach" userId="7408d6fd-eaeb-47da-89e0-711fd1361cf1" providerId="ADAL" clId="{E6A0457D-E37C-4445-8A05-392CF07B439F}" dt="2021-05-03T14:28:27.395" v="1325" actId="478"/>
          <ac:spMkLst>
            <pc:docMk/>
            <pc:sldMk cId="880977745" sldId="1096"/>
            <ac:spMk id="6" creationId="{86C8EEF2-2A65-4E1B-BF73-D8B58472213B}"/>
          </ac:spMkLst>
        </pc:spChg>
        <pc:spChg chg="del">
          <ac:chgData name="Daphnée Rotenbach" userId="7408d6fd-eaeb-47da-89e0-711fd1361cf1" providerId="ADAL" clId="{E6A0457D-E37C-4445-8A05-392CF07B439F}" dt="2021-05-03T14:28:36.408" v="1331" actId="478"/>
          <ac:spMkLst>
            <pc:docMk/>
            <pc:sldMk cId="880977745" sldId="1096"/>
            <ac:spMk id="7" creationId="{9D6F1FC8-15A2-417E-8151-FD1A6642FE47}"/>
          </ac:spMkLst>
        </pc:spChg>
        <pc:spChg chg="del">
          <ac:chgData name="Daphnée Rotenbach" userId="7408d6fd-eaeb-47da-89e0-711fd1361cf1" providerId="ADAL" clId="{E6A0457D-E37C-4445-8A05-392CF07B439F}" dt="2021-05-03T14:28:30.905" v="1327" actId="478"/>
          <ac:spMkLst>
            <pc:docMk/>
            <pc:sldMk cId="880977745" sldId="1096"/>
            <ac:spMk id="8" creationId="{11EA81AE-CB1B-4DC7-8BC8-2E2E195F727B}"/>
          </ac:spMkLst>
        </pc:spChg>
        <pc:spChg chg="del">
          <ac:chgData name="Daphnée Rotenbach" userId="7408d6fd-eaeb-47da-89e0-711fd1361cf1" providerId="ADAL" clId="{E6A0457D-E37C-4445-8A05-392CF07B439F}" dt="2021-05-03T14:28:32.193" v="1328" actId="478"/>
          <ac:spMkLst>
            <pc:docMk/>
            <pc:sldMk cId="880977745" sldId="1096"/>
            <ac:spMk id="9" creationId="{25E05635-71FD-4460-99C8-9A4555616047}"/>
          </ac:spMkLst>
        </pc:spChg>
        <pc:spChg chg="add del">
          <ac:chgData name="Daphnée Rotenbach" userId="7408d6fd-eaeb-47da-89e0-711fd1361cf1" providerId="ADAL" clId="{E6A0457D-E37C-4445-8A05-392CF07B439F}" dt="2021-05-03T14:38:13.776" v="1438"/>
          <ac:spMkLst>
            <pc:docMk/>
            <pc:sldMk cId="880977745" sldId="1096"/>
            <ac:spMk id="10" creationId="{12C04E7A-74F7-4DE4-978A-53E0664C51B9}"/>
          </ac:spMkLst>
        </pc:spChg>
        <pc:spChg chg="del mod">
          <ac:chgData name="Daphnée Rotenbach" userId="7408d6fd-eaeb-47da-89e0-711fd1361cf1" providerId="ADAL" clId="{E6A0457D-E37C-4445-8A05-392CF07B439F}" dt="2021-05-03T15:15:16.621" v="1669" actId="478"/>
          <ac:spMkLst>
            <pc:docMk/>
            <pc:sldMk cId="880977745" sldId="1096"/>
            <ac:spMk id="11" creationId="{3B74ABDC-313C-4581-ABCC-FE427075B6A1}"/>
          </ac:spMkLst>
        </pc:spChg>
        <pc:spChg chg="del mod">
          <ac:chgData name="Daphnée Rotenbach" userId="7408d6fd-eaeb-47da-89e0-711fd1361cf1" providerId="ADAL" clId="{E6A0457D-E37C-4445-8A05-392CF07B439F}" dt="2021-05-03T15:15:16.621" v="1669" actId="478"/>
          <ac:spMkLst>
            <pc:docMk/>
            <pc:sldMk cId="880977745" sldId="1096"/>
            <ac:spMk id="12" creationId="{7DEE1328-88BF-4977-AE8C-4CBBAB128356}"/>
          </ac:spMkLst>
        </pc:spChg>
        <pc:spChg chg="del mod">
          <ac:chgData name="Daphnée Rotenbach" userId="7408d6fd-eaeb-47da-89e0-711fd1361cf1" providerId="ADAL" clId="{E6A0457D-E37C-4445-8A05-392CF07B439F}" dt="2021-05-03T15:15:16.621" v="1669" actId="478"/>
          <ac:spMkLst>
            <pc:docMk/>
            <pc:sldMk cId="880977745" sldId="1096"/>
            <ac:spMk id="13" creationId="{5FF95E59-D61F-41B4-8B92-5453925E9460}"/>
          </ac:spMkLst>
        </pc:spChg>
        <pc:spChg chg="del">
          <ac:chgData name="Daphnée Rotenbach" userId="7408d6fd-eaeb-47da-89e0-711fd1361cf1" providerId="ADAL" clId="{E6A0457D-E37C-4445-8A05-392CF07B439F}" dt="2021-05-03T14:28:28.954" v="1326" actId="478"/>
          <ac:spMkLst>
            <pc:docMk/>
            <pc:sldMk cId="880977745" sldId="1096"/>
            <ac:spMk id="14" creationId="{DCE88C43-31A7-4F39-9F84-85B9424FE103}"/>
          </ac:spMkLst>
        </pc:spChg>
        <pc:spChg chg="add del mod">
          <ac:chgData name="Daphnée Rotenbach" userId="7408d6fd-eaeb-47da-89e0-711fd1361cf1" providerId="ADAL" clId="{E6A0457D-E37C-4445-8A05-392CF07B439F}" dt="2021-05-03T15:26:18.866" v="1709" actId="1076"/>
          <ac:spMkLst>
            <pc:docMk/>
            <pc:sldMk cId="880977745" sldId="1096"/>
            <ac:spMk id="15" creationId="{CBCB4A64-7D74-4A66-A44F-1E280B2BE44A}"/>
          </ac:spMkLst>
        </pc:spChg>
        <pc:spChg chg="add del mod">
          <ac:chgData name="Daphnée Rotenbach" userId="7408d6fd-eaeb-47da-89e0-711fd1361cf1" providerId="ADAL" clId="{E6A0457D-E37C-4445-8A05-392CF07B439F}" dt="2021-05-03T15:29:19.959" v="1727" actId="478"/>
          <ac:spMkLst>
            <pc:docMk/>
            <pc:sldMk cId="880977745" sldId="1096"/>
            <ac:spMk id="16" creationId="{42A7D6A0-B7AB-4BCD-A17E-591EC3D5568B}"/>
          </ac:spMkLst>
        </pc:spChg>
        <pc:spChg chg="add mod">
          <ac:chgData name="Daphnée Rotenbach" userId="7408d6fd-eaeb-47da-89e0-711fd1361cf1" providerId="ADAL" clId="{E6A0457D-E37C-4445-8A05-392CF07B439F}" dt="2021-05-03T15:12:10.821" v="1587"/>
          <ac:spMkLst>
            <pc:docMk/>
            <pc:sldMk cId="880977745" sldId="1096"/>
            <ac:spMk id="17" creationId="{6472D98B-CD5F-464C-8F66-41D4B16210FA}"/>
          </ac:spMkLst>
        </pc:spChg>
        <pc:spChg chg="mod">
          <ac:chgData name="Daphnée Rotenbach" userId="7408d6fd-eaeb-47da-89e0-711fd1361cf1" providerId="ADAL" clId="{E6A0457D-E37C-4445-8A05-392CF07B439F}" dt="2021-05-03T15:17:20.682" v="1695" actId="1076"/>
          <ac:spMkLst>
            <pc:docMk/>
            <pc:sldMk cId="880977745" sldId="1096"/>
            <ac:spMk id="19" creationId="{F905CFDC-709E-411B-AA5A-872C1623EDEF}"/>
          </ac:spMkLst>
        </pc:spChg>
        <pc:spChg chg="mod">
          <ac:chgData name="Daphnée Rotenbach" userId="7408d6fd-eaeb-47da-89e0-711fd1361cf1" providerId="ADAL" clId="{E6A0457D-E37C-4445-8A05-392CF07B439F}" dt="2021-05-03T15:17:20.682" v="1695" actId="1076"/>
          <ac:spMkLst>
            <pc:docMk/>
            <pc:sldMk cId="880977745" sldId="1096"/>
            <ac:spMk id="21" creationId="{3F8FFD56-58B9-43D1-8AC3-299E542BCE00}"/>
          </ac:spMkLst>
        </pc:spChg>
        <pc:spChg chg="mod">
          <ac:chgData name="Daphnée Rotenbach" userId="7408d6fd-eaeb-47da-89e0-711fd1361cf1" providerId="ADAL" clId="{E6A0457D-E37C-4445-8A05-392CF07B439F}" dt="2021-05-03T15:17:20.682" v="1695" actId="1076"/>
          <ac:spMkLst>
            <pc:docMk/>
            <pc:sldMk cId="880977745" sldId="1096"/>
            <ac:spMk id="22" creationId="{5C7DFDEB-8770-40CF-8DF6-9367E639D067}"/>
          </ac:spMkLst>
        </pc:spChg>
        <pc:spChg chg="mod">
          <ac:chgData name="Daphnée Rotenbach" userId="7408d6fd-eaeb-47da-89e0-711fd1361cf1" providerId="ADAL" clId="{E6A0457D-E37C-4445-8A05-392CF07B439F}" dt="2021-05-03T15:17:20.682" v="1695" actId="1076"/>
          <ac:spMkLst>
            <pc:docMk/>
            <pc:sldMk cId="880977745" sldId="1096"/>
            <ac:spMk id="23" creationId="{85288A26-DE41-4B5C-8E85-B04FC2F0D810}"/>
          </ac:spMkLst>
        </pc:spChg>
        <pc:spChg chg="del">
          <ac:chgData name="Daphnée Rotenbach" userId="7408d6fd-eaeb-47da-89e0-711fd1361cf1" providerId="ADAL" clId="{E6A0457D-E37C-4445-8A05-392CF07B439F}" dt="2021-05-03T14:28:21.157" v="1321" actId="478"/>
          <ac:spMkLst>
            <pc:docMk/>
            <pc:sldMk cId="880977745" sldId="1096"/>
            <ac:spMk id="25" creationId="{C0AD82A9-9B4A-4CBC-ABC2-F7D37C4666EB}"/>
          </ac:spMkLst>
        </pc:spChg>
        <pc:spChg chg="mod">
          <ac:chgData name="Daphnée Rotenbach" userId="7408d6fd-eaeb-47da-89e0-711fd1361cf1" providerId="ADAL" clId="{E6A0457D-E37C-4445-8A05-392CF07B439F}" dt="2021-05-03T15:17:20.682" v="1695" actId="1076"/>
          <ac:spMkLst>
            <pc:docMk/>
            <pc:sldMk cId="880977745" sldId="1096"/>
            <ac:spMk id="27" creationId="{43BED8D4-363C-470B-B100-B8253E8A1B1A}"/>
          </ac:spMkLst>
        </pc:spChg>
        <pc:spChg chg="mod">
          <ac:chgData name="Daphnée Rotenbach" userId="7408d6fd-eaeb-47da-89e0-711fd1361cf1" providerId="ADAL" clId="{E6A0457D-E37C-4445-8A05-392CF07B439F}" dt="2021-05-03T15:17:20.682" v="1695" actId="1076"/>
          <ac:spMkLst>
            <pc:docMk/>
            <pc:sldMk cId="880977745" sldId="1096"/>
            <ac:spMk id="28" creationId="{6F0D7779-7E4B-42F7-9C34-D30FB65F40B3}"/>
          </ac:spMkLst>
        </pc:spChg>
        <pc:spChg chg="mod">
          <ac:chgData name="Daphnée Rotenbach" userId="7408d6fd-eaeb-47da-89e0-711fd1361cf1" providerId="ADAL" clId="{E6A0457D-E37C-4445-8A05-392CF07B439F}" dt="2021-05-03T15:17:20.682" v="1695" actId="1076"/>
          <ac:spMkLst>
            <pc:docMk/>
            <pc:sldMk cId="880977745" sldId="1096"/>
            <ac:spMk id="29" creationId="{981387DF-E6D0-44A3-8D1F-77AF668D4561}"/>
          </ac:spMkLst>
        </pc:spChg>
        <pc:spChg chg="mod">
          <ac:chgData name="Daphnée Rotenbach" userId="7408d6fd-eaeb-47da-89e0-711fd1361cf1" providerId="ADAL" clId="{E6A0457D-E37C-4445-8A05-392CF07B439F}" dt="2021-05-03T15:17:20.682" v="1695" actId="1076"/>
          <ac:spMkLst>
            <pc:docMk/>
            <pc:sldMk cId="880977745" sldId="1096"/>
            <ac:spMk id="30" creationId="{4CCDC8F8-3E21-4F97-B785-7646AF83B095}"/>
          </ac:spMkLst>
        </pc:spChg>
        <pc:spChg chg="mod">
          <ac:chgData name="Daphnée Rotenbach" userId="7408d6fd-eaeb-47da-89e0-711fd1361cf1" providerId="ADAL" clId="{E6A0457D-E37C-4445-8A05-392CF07B439F}" dt="2021-05-03T15:17:20.682" v="1695" actId="1076"/>
          <ac:spMkLst>
            <pc:docMk/>
            <pc:sldMk cId="880977745" sldId="1096"/>
            <ac:spMk id="31" creationId="{AD17F1A3-8654-4FD2-9CA0-1876B97C7180}"/>
          </ac:spMkLst>
        </pc:spChg>
        <pc:spChg chg="mod">
          <ac:chgData name="Daphnée Rotenbach" userId="7408d6fd-eaeb-47da-89e0-711fd1361cf1" providerId="ADAL" clId="{E6A0457D-E37C-4445-8A05-392CF07B439F}" dt="2021-05-03T15:17:20.682" v="1695" actId="1076"/>
          <ac:spMkLst>
            <pc:docMk/>
            <pc:sldMk cId="880977745" sldId="1096"/>
            <ac:spMk id="36" creationId="{51066C73-CFA1-43C0-BA6D-844FB504679A}"/>
          </ac:spMkLst>
        </pc:spChg>
        <pc:spChg chg="mod">
          <ac:chgData name="Daphnée Rotenbach" userId="7408d6fd-eaeb-47da-89e0-711fd1361cf1" providerId="ADAL" clId="{E6A0457D-E37C-4445-8A05-392CF07B439F}" dt="2021-05-03T15:17:20.682" v="1695" actId="1076"/>
          <ac:spMkLst>
            <pc:docMk/>
            <pc:sldMk cId="880977745" sldId="1096"/>
            <ac:spMk id="45" creationId="{88FE2331-C06C-493D-9802-9E96D4762A67}"/>
          </ac:spMkLst>
        </pc:spChg>
        <pc:spChg chg="mod">
          <ac:chgData name="Daphnée Rotenbach" userId="7408d6fd-eaeb-47da-89e0-711fd1361cf1" providerId="ADAL" clId="{E6A0457D-E37C-4445-8A05-392CF07B439F}" dt="2021-05-03T15:17:20.682" v="1695" actId="1076"/>
          <ac:spMkLst>
            <pc:docMk/>
            <pc:sldMk cId="880977745" sldId="1096"/>
            <ac:spMk id="46" creationId="{12B80F5A-1A8B-40B4-B703-CCCC1D63453E}"/>
          </ac:spMkLst>
        </pc:spChg>
        <pc:spChg chg="mod">
          <ac:chgData name="Daphnée Rotenbach" userId="7408d6fd-eaeb-47da-89e0-711fd1361cf1" providerId="ADAL" clId="{E6A0457D-E37C-4445-8A05-392CF07B439F}" dt="2021-05-03T15:17:20.682" v="1695" actId="1076"/>
          <ac:spMkLst>
            <pc:docMk/>
            <pc:sldMk cId="880977745" sldId="1096"/>
            <ac:spMk id="47" creationId="{70427A36-8DD5-41A4-8E16-DA377D1F9460}"/>
          </ac:spMkLst>
        </pc:spChg>
        <pc:spChg chg="mod">
          <ac:chgData name="Daphnée Rotenbach" userId="7408d6fd-eaeb-47da-89e0-711fd1361cf1" providerId="ADAL" clId="{E6A0457D-E37C-4445-8A05-392CF07B439F}" dt="2021-05-03T15:17:20.682" v="1695" actId="1076"/>
          <ac:spMkLst>
            <pc:docMk/>
            <pc:sldMk cId="880977745" sldId="1096"/>
            <ac:spMk id="48" creationId="{68A5AE6C-2F29-4C15-A303-1464CFCEF0A1}"/>
          </ac:spMkLst>
        </pc:spChg>
        <pc:spChg chg="mod">
          <ac:chgData name="Daphnée Rotenbach" userId="7408d6fd-eaeb-47da-89e0-711fd1361cf1" providerId="ADAL" clId="{E6A0457D-E37C-4445-8A05-392CF07B439F}" dt="2021-05-03T15:17:20.682" v="1695" actId="1076"/>
          <ac:spMkLst>
            <pc:docMk/>
            <pc:sldMk cId="880977745" sldId="1096"/>
            <ac:spMk id="49" creationId="{E27C5307-8B7C-4F3B-812D-D27681E9E140}"/>
          </ac:spMkLst>
        </pc:spChg>
        <pc:spChg chg="mod">
          <ac:chgData name="Daphnée Rotenbach" userId="7408d6fd-eaeb-47da-89e0-711fd1361cf1" providerId="ADAL" clId="{E6A0457D-E37C-4445-8A05-392CF07B439F}" dt="2021-05-03T15:17:20.682" v="1695" actId="1076"/>
          <ac:spMkLst>
            <pc:docMk/>
            <pc:sldMk cId="880977745" sldId="1096"/>
            <ac:spMk id="50" creationId="{166AE93A-6FA4-4E66-9312-0AF337189A97}"/>
          </ac:spMkLst>
        </pc:spChg>
        <pc:spChg chg="mod">
          <ac:chgData name="Daphnée Rotenbach" userId="7408d6fd-eaeb-47da-89e0-711fd1361cf1" providerId="ADAL" clId="{E6A0457D-E37C-4445-8A05-392CF07B439F}" dt="2021-05-03T15:17:20.682" v="1695" actId="1076"/>
          <ac:spMkLst>
            <pc:docMk/>
            <pc:sldMk cId="880977745" sldId="1096"/>
            <ac:spMk id="51" creationId="{FC2FB6D4-2EC5-4EEE-9C30-CB777B519051}"/>
          </ac:spMkLst>
        </pc:spChg>
        <pc:spChg chg="mod">
          <ac:chgData name="Daphnée Rotenbach" userId="7408d6fd-eaeb-47da-89e0-711fd1361cf1" providerId="ADAL" clId="{E6A0457D-E37C-4445-8A05-392CF07B439F}" dt="2021-05-03T15:17:20.682" v="1695" actId="1076"/>
          <ac:spMkLst>
            <pc:docMk/>
            <pc:sldMk cId="880977745" sldId="1096"/>
            <ac:spMk id="52" creationId="{75544612-FB1A-433D-AEB3-5F5596D85500}"/>
          </ac:spMkLst>
        </pc:spChg>
        <pc:spChg chg="mod">
          <ac:chgData name="Daphnée Rotenbach" userId="7408d6fd-eaeb-47da-89e0-711fd1361cf1" providerId="ADAL" clId="{E6A0457D-E37C-4445-8A05-392CF07B439F}" dt="2021-05-03T15:17:20.682" v="1695" actId="1076"/>
          <ac:spMkLst>
            <pc:docMk/>
            <pc:sldMk cId="880977745" sldId="1096"/>
            <ac:spMk id="53" creationId="{E3B30676-AA74-44AF-BF1D-94D57EFD23C7}"/>
          </ac:spMkLst>
        </pc:spChg>
        <pc:spChg chg="mod">
          <ac:chgData name="Daphnée Rotenbach" userId="7408d6fd-eaeb-47da-89e0-711fd1361cf1" providerId="ADAL" clId="{E6A0457D-E37C-4445-8A05-392CF07B439F}" dt="2021-05-03T15:17:20.682" v="1695" actId="1076"/>
          <ac:spMkLst>
            <pc:docMk/>
            <pc:sldMk cId="880977745" sldId="1096"/>
            <ac:spMk id="55" creationId="{D84D87DD-B36A-46C3-B1D3-375DA4F5C06D}"/>
          </ac:spMkLst>
        </pc:spChg>
        <pc:spChg chg="mod">
          <ac:chgData name="Daphnée Rotenbach" userId="7408d6fd-eaeb-47da-89e0-711fd1361cf1" providerId="ADAL" clId="{E6A0457D-E37C-4445-8A05-392CF07B439F}" dt="2021-05-03T15:17:20.682" v="1695" actId="1076"/>
          <ac:spMkLst>
            <pc:docMk/>
            <pc:sldMk cId="880977745" sldId="1096"/>
            <ac:spMk id="57" creationId="{B69A2920-42C9-4C39-A612-1A58AE8C23BA}"/>
          </ac:spMkLst>
        </pc:spChg>
        <pc:spChg chg="mod">
          <ac:chgData name="Daphnée Rotenbach" userId="7408d6fd-eaeb-47da-89e0-711fd1361cf1" providerId="ADAL" clId="{E6A0457D-E37C-4445-8A05-392CF07B439F}" dt="2021-05-03T15:17:20.682" v="1695" actId="1076"/>
          <ac:spMkLst>
            <pc:docMk/>
            <pc:sldMk cId="880977745" sldId="1096"/>
            <ac:spMk id="59" creationId="{0D7A2682-FBB0-4A6A-B54E-23A9FE931548}"/>
          </ac:spMkLst>
        </pc:spChg>
        <pc:spChg chg="mod">
          <ac:chgData name="Daphnée Rotenbach" userId="7408d6fd-eaeb-47da-89e0-711fd1361cf1" providerId="ADAL" clId="{E6A0457D-E37C-4445-8A05-392CF07B439F}" dt="2021-05-03T15:17:20.682" v="1695" actId="1076"/>
          <ac:spMkLst>
            <pc:docMk/>
            <pc:sldMk cId="880977745" sldId="1096"/>
            <ac:spMk id="61" creationId="{511304C8-210D-4E44-BF22-3F058BA8B95E}"/>
          </ac:spMkLst>
        </pc:spChg>
        <pc:spChg chg="mod">
          <ac:chgData name="Daphnée Rotenbach" userId="7408d6fd-eaeb-47da-89e0-711fd1361cf1" providerId="ADAL" clId="{E6A0457D-E37C-4445-8A05-392CF07B439F}" dt="2021-05-03T15:17:20.682" v="1695" actId="1076"/>
          <ac:spMkLst>
            <pc:docMk/>
            <pc:sldMk cId="880977745" sldId="1096"/>
            <ac:spMk id="64" creationId="{C4ACBF28-4BA4-423D-8AC1-135E6BE92F37}"/>
          </ac:spMkLst>
        </pc:spChg>
        <pc:spChg chg="add del mod">
          <ac:chgData name="Daphnée Rotenbach" userId="7408d6fd-eaeb-47da-89e0-711fd1361cf1" providerId="ADAL" clId="{E6A0457D-E37C-4445-8A05-392CF07B439F}" dt="2021-05-03T15:29:18.452" v="1726" actId="478"/>
          <ac:spMkLst>
            <pc:docMk/>
            <pc:sldMk cId="880977745" sldId="1096"/>
            <ac:spMk id="66" creationId="{CE3013FD-3C07-4160-A37E-3B16C298E41A}"/>
          </ac:spMkLst>
        </pc:spChg>
        <pc:spChg chg="add del mod">
          <ac:chgData name="Daphnée Rotenbach" userId="7408d6fd-eaeb-47da-89e0-711fd1361cf1" providerId="ADAL" clId="{E6A0457D-E37C-4445-8A05-392CF07B439F}" dt="2021-05-03T15:29:32.846" v="1730" actId="478"/>
          <ac:spMkLst>
            <pc:docMk/>
            <pc:sldMk cId="880977745" sldId="1096"/>
            <ac:spMk id="67" creationId="{88C2E57F-8C09-46AA-90E5-21ADD33DFA14}"/>
          </ac:spMkLst>
        </pc:spChg>
        <pc:spChg chg="add mod">
          <ac:chgData name="Daphnée Rotenbach" userId="7408d6fd-eaeb-47da-89e0-711fd1361cf1" providerId="ADAL" clId="{E6A0457D-E37C-4445-8A05-392CF07B439F}" dt="2021-05-03T15:33:27.179" v="1740" actId="1076"/>
          <ac:spMkLst>
            <pc:docMk/>
            <pc:sldMk cId="880977745" sldId="1096"/>
            <ac:spMk id="69" creationId="{B209F01D-C37D-4F65-9640-E5C931FAB332}"/>
          </ac:spMkLst>
        </pc:spChg>
        <pc:grpChg chg="add del mod">
          <ac:chgData name="Daphnée Rotenbach" userId="7408d6fd-eaeb-47da-89e0-711fd1361cf1" providerId="ADAL" clId="{E6A0457D-E37C-4445-8A05-392CF07B439F}" dt="2021-05-03T15:17:21.597" v="1696"/>
          <ac:grpSpMkLst>
            <pc:docMk/>
            <pc:sldMk cId="880977745" sldId="1096"/>
            <ac:grpSpMk id="18" creationId="{07CEE06E-4143-42CA-9BD1-B2A79111A9CF}"/>
          </ac:grpSpMkLst>
        </pc:grpChg>
        <pc:grpChg chg="mod">
          <ac:chgData name="Daphnée Rotenbach" userId="7408d6fd-eaeb-47da-89e0-711fd1361cf1" providerId="ADAL" clId="{E6A0457D-E37C-4445-8A05-392CF07B439F}" dt="2021-05-03T15:17:20.682" v="1695" actId="1076"/>
          <ac:grpSpMkLst>
            <pc:docMk/>
            <pc:sldMk cId="880977745" sldId="1096"/>
            <ac:grpSpMk id="20" creationId="{6063629A-F0EB-41D2-8EF2-EC2052671A2A}"/>
          </ac:grpSpMkLst>
        </pc:grpChg>
        <pc:grpChg chg="mod">
          <ac:chgData name="Daphnée Rotenbach" userId="7408d6fd-eaeb-47da-89e0-711fd1361cf1" providerId="ADAL" clId="{E6A0457D-E37C-4445-8A05-392CF07B439F}" dt="2021-05-03T15:17:20.682" v="1695" actId="1076"/>
          <ac:grpSpMkLst>
            <pc:docMk/>
            <pc:sldMk cId="880977745" sldId="1096"/>
            <ac:grpSpMk id="24" creationId="{74218434-1263-49D8-9025-BDCEF56ADD53}"/>
          </ac:grpSpMkLst>
        </pc:grpChg>
        <pc:grpChg chg="mod">
          <ac:chgData name="Daphnée Rotenbach" userId="7408d6fd-eaeb-47da-89e0-711fd1361cf1" providerId="ADAL" clId="{E6A0457D-E37C-4445-8A05-392CF07B439F}" dt="2021-05-03T15:17:20.682" v="1695" actId="1076"/>
          <ac:grpSpMkLst>
            <pc:docMk/>
            <pc:sldMk cId="880977745" sldId="1096"/>
            <ac:grpSpMk id="26" creationId="{2988D9DE-D1D4-4D43-A5DD-8957F878A806}"/>
          </ac:grpSpMkLst>
        </pc:grpChg>
        <pc:grpChg chg="mod">
          <ac:chgData name="Daphnée Rotenbach" userId="7408d6fd-eaeb-47da-89e0-711fd1361cf1" providerId="ADAL" clId="{E6A0457D-E37C-4445-8A05-392CF07B439F}" dt="2021-05-03T15:17:20.682" v="1695" actId="1076"/>
          <ac:grpSpMkLst>
            <pc:docMk/>
            <pc:sldMk cId="880977745" sldId="1096"/>
            <ac:grpSpMk id="32" creationId="{6233B180-F2B6-4E78-B7B2-DE88769D7465}"/>
          </ac:grpSpMkLst>
        </pc:grpChg>
        <pc:grpChg chg="mod">
          <ac:chgData name="Daphnée Rotenbach" userId="7408d6fd-eaeb-47da-89e0-711fd1361cf1" providerId="ADAL" clId="{E6A0457D-E37C-4445-8A05-392CF07B439F}" dt="2021-05-03T15:17:20.682" v="1695" actId="1076"/>
          <ac:grpSpMkLst>
            <pc:docMk/>
            <pc:sldMk cId="880977745" sldId="1096"/>
            <ac:grpSpMk id="33" creationId="{CAC6CEBD-C0E2-408F-8E21-5BD23611AB1E}"/>
          </ac:grpSpMkLst>
        </pc:grpChg>
        <pc:grpChg chg="mod">
          <ac:chgData name="Daphnée Rotenbach" userId="7408d6fd-eaeb-47da-89e0-711fd1361cf1" providerId="ADAL" clId="{E6A0457D-E37C-4445-8A05-392CF07B439F}" dt="2021-05-03T15:17:20.682" v="1695" actId="1076"/>
          <ac:grpSpMkLst>
            <pc:docMk/>
            <pc:sldMk cId="880977745" sldId="1096"/>
            <ac:grpSpMk id="34" creationId="{3A0DBEF8-9D7D-4F73-93DD-817DD9E38E73}"/>
          </ac:grpSpMkLst>
        </pc:grpChg>
        <pc:grpChg chg="mod">
          <ac:chgData name="Daphnée Rotenbach" userId="7408d6fd-eaeb-47da-89e0-711fd1361cf1" providerId="ADAL" clId="{E6A0457D-E37C-4445-8A05-392CF07B439F}" dt="2021-05-03T15:17:20.682" v="1695" actId="1076"/>
          <ac:grpSpMkLst>
            <pc:docMk/>
            <pc:sldMk cId="880977745" sldId="1096"/>
            <ac:grpSpMk id="35" creationId="{33649D58-4C42-455F-A51A-D43EDD8D128F}"/>
          </ac:grpSpMkLst>
        </pc:grpChg>
        <pc:grpChg chg="mod">
          <ac:chgData name="Daphnée Rotenbach" userId="7408d6fd-eaeb-47da-89e0-711fd1361cf1" providerId="ADAL" clId="{E6A0457D-E37C-4445-8A05-392CF07B439F}" dt="2021-05-03T15:17:20.682" v="1695" actId="1076"/>
          <ac:grpSpMkLst>
            <pc:docMk/>
            <pc:sldMk cId="880977745" sldId="1096"/>
            <ac:grpSpMk id="37" creationId="{A9976AFA-BE51-41A6-B2AE-90015D9E1BAF}"/>
          </ac:grpSpMkLst>
        </pc:grpChg>
        <pc:grpChg chg="mod">
          <ac:chgData name="Daphnée Rotenbach" userId="7408d6fd-eaeb-47da-89e0-711fd1361cf1" providerId="ADAL" clId="{E6A0457D-E37C-4445-8A05-392CF07B439F}" dt="2021-05-03T15:17:20.682" v="1695" actId="1076"/>
          <ac:grpSpMkLst>
            <pc:docMk/>
            <pc:sldMk cId="880977745" sldId="1096"/>
            <ac:grpSpMk id="38" creationId="{04838EFC-D14E-414B-BA46-BFACD907BF60}"/>
          </ac:grpSpMkLst>
        </pc:grpChg>
        <pc:grpChg chg="mod">
          <ac:chgData name="Daphnée Rotenbach" userId="7408d6fd-eaeb-47da-89e0-711fd1361cf1" providerId="ADAL" clId="{E6A0457D-E37C-4445-8A05-392CF07B439F}" dt="2021-05-03T15:17:20.682" v="1695" actId="1076"/>
          <ac:grpSpMkLst>
            <pc:docMk/>
            <pc:sldMk cId="880977745" sldId="1096"/>
            <ac:grpSpMk id="39" creationId="{E6A6B7EA-EFDE-4C9D-9142-4747D2CD8BC6}"/>
          </ac:grpSpMkLst>
        </pc:grpChg>
        <pc:grpChg chg="mod">
          <ac:chgData name="Daphnée Rotenbach" userId="7408d6fd-eaeb-47da-89e0-711fd1361cf1" providerId="ADAL" clId="{E6A0457D-E37C-4445-8A05-392CF07B439F}" dt="2021-05-03T15:17:20.682" v="1695" actId="1076"/>
          <ac:grpSpMkLst>
            <pc:docMk/>
            <pc:sldMk cId="880977745" sldId="1096"/>
            <ac:grpSpMk id="40" creationId="{A0B10FB6-9998-4FB9-8089-8377B6171742}"/>
          </ac:grpSpMkLst>
        </pc:grpChg>
        <pc:grpChg chg="mod">
          <ac:chgData name="Daphnée Rotenbach" userId="7408d6fd-eaeb-47da-89e0-711fd1361cf1" providerId="ADAL" clId="{E6A0457D-E37C-4445-8A05-392CF07B439F}" dt="2021-05-03T15:17:20.682" v="1695" actId="1076"/>
          <ac:grpSpMkLst>
            <pc:docMk/>
            <pc:sldMk cId="880977745" sldId="1096"/>
            <ac:grpSpMk id="42" creationId="{E5702F01-44A9-4B65-B4AF-F6AEE9C324CE}"/>
          </ac:grpSpMkLst>
        </pc:grpChg>
        <pc:graphicFrameChg chg="add mod modGraphic">
          <ac:chgData name="Daphnée Rotenbach" userId="7408d6fd-eaeb-47da-89e0-711fd1361cf1" providerId="ADAL" clId="{E6A0457D-E37C-4445-8A05-392CF07B439F}" dt="2021-05-03T15:35:07.872" v="1763" actId="13782"/>
          <ac:graphicFrameMkLst>
            <pc:docMk/>
            <pc:sldMk cId="880977745" sldId="1096"/>
            <ac:graphicFrameMk id="68" creationId="{FF2BB78B-91CB-41A7-BBE6-C877E7A31F61}"/>
          </ac:graphicFrameMkLst>
        </pc:graphicFrameChg>
        <pc:picChg chg="mod">
          <ac:chgData name="Daphnée Rotenbach" userId="7408d6fd-eaeb-47da-89e0-711fd1361cf1" providerId="ADAL" clId="{E6A0457D-E37C-4445-8A05-392CF07B439F}" dt="2021-05-03T15:17:20.682" v="1695" actId="1076"/>
          <ac:picMkLst>
            <pc:docMk/>
            <pc:sldMk cId="880977745" sldId="1096"/>
            <ac:picMk id="41" creationId="{ABF3B8BE-0E76-457F-ADC1-4164CA94585B}"/>
          </ac:picMkLst>
        </pc:picChg>
        <pc:picChg chg="mod">
          <ac:chgData name="Daphnée Rotenbach" userId="7408d6fd-eaeb-47da-89e0-711fd1361cf1" providerId="ADAL" clId="{E6A0457D-E37C-4445-8A05-392CF07B439F}" dt="2021-05-03T15:17:20.682" v="1695" actId="1076"/>
          <ac:picMkLst>
            <pc:docMk/>
            <pc:sldMk cId="880977745" sldId="1096"/>
            <ac:picMk id="43" creationId="{653FC895-E253-4617-B5E2-297AD29D9E0F}"/>
          </ac:picMkLst>
        </pc:picChg>
        <pc:picChg chg="mod">
          <ac:chgData name="Daphnée Rotenbach" userId="7408d6fd-eaeb-47da-89e0-711fd1361cf1" providerId="ADAL" clId="{E6A0457D-E37C-4445-8A05-392CF07B439F}" dt="2021-05-03T15:17:20.682" v="1695" actId="1076"/>
          <ac:picMkLst>
            <pc:docMk/>
            <pc:sldMk cId="880977745" sldId="1096"/>
            <ac:picMk id="44" creationId="{AA2E47A0-6B96-4BC1-A4F3-3E557D36383A}"/>
          </ac:picMkLst>
        </pc:picChg>
        <pc:picChg chg="mod">
          <ac:chgData name="Daphnée Rotenbach" userId="7408d6fd-eaeb-47da-89e0-711fd1361cf1" providerId="ADAL" clId="{E6A0457D-E37C-4445-8A05-392CF07B439F}" dt="2021-05-03T15:17:20.682" v="1695" actId="1076"/>
          <ac:picMkLst>
            <pc:docMk/>
            <pc:sldMk cId="880977745" sldId="1096"/>
            <ac:picMk id="54" creationId="{77717391-77CA-4595-82F6-EDEA5C4AA41A}"/>
          </ac:picMkLst>
        </pc:picChg>
        <pc:picChg chg="mod">
          <ac:chgData name="Daphnée Rotenbach" userId="7408d6fd-eaeb-47da-89e0-711fd1361cf1" providerId="ADAL" clId="{E6A0457D-E37C-4445-8A05-392CF07B439F}" dt="2021-05-03T15:17:20.682" v="1695" actId="1076"/>
          <ac:picMkLst>
            <pc:docMk/>
            <pc:sldMk cId="880977745" sldId="1096"/>
            <ac:picMk id="56" creationId="{ACD9B4BA-6BAA-4C4A-BA21-1FB1A6F54681}"/>
          </ac:picMkLst>
        </pc:picChg>
        <pc:picChg chg="mod">
          <ac:chgData name="Daphnée Rotenbach" userId="7408d6fd-eaeb-47da-89e0-711fd1361cf1" providerId="ADAL" clId="{E6A0457D-E37C-4445-8A05-392CF07B439F}" dt="2021-05-03T15:17:20.682" v="1695" actId="1076"/>
          <ac:picMkLst>
            <pc:docMk/>
            <pc:sldMk cId="880977745" sldId="1096"/>
            <ac:picMk id="58" creationId="{CE00A7C9-3D41-4ED3-925E-132B971CE7C7}"/>
          </ac:picMkLst>
        </pc:picChg>
        <pc:picChg chg="mod">
          <ac:chgData name="Daphnée Rotenbach" userId="7408d6fd-eaeb-47da-89e0-711fd1361cf1" providerId="ADAL" clId="{E6A0457D-E37C-4445-8A05-392CF07B439F}" dt="2021-05-03T15:17:20.682" v="1695" actId="1076"/>
          <ac:picMkLst>
            <pc:docMk/>
            <pc:sldMk cId="880977745" sldId="1096"/>
            <ac:picMk id="60" creationId="{D98FF3AB-56D5-4E1F-801D-C7A00475EE64}"/>
          </ac:picMkLst>
        </pc:picChg>
        <pc:picChg chg="mod">
          <ac:chgData name="Daphnée Rotenbach" userId="7408d6fd-eaeb-47da-89e0-711fd1361cf1" providerId="ADAL" clId="{E6A0457D-E37C-4445-8A05-392CF07B439F}" dt="2021-05-03T15:17:20.682" v="1695" actId="1076"/>
          <ac:picMkLst>
            <pc:docMk/>
            <pc:sldMk cId="880977745" sldId="1096"/>
            <ac:picMk id="62" creationId="{64EB6425-8FB8-4B3C-9BC9-8B00C84A9B33}"/>
          </ac:picMkLst>
        </pc:picChg>
        <pc:picChg chg="mod">
          <ac:chgData name="Daphnée Rotenbach" userId="7408d6fd-eaeb-47da-89e0-711fd1361cf1" providerId="ADAL" clId="{E6A0457D-E37C-4445-8A05-392CF07B439F}" dt="2021-05-03T15:17:20.682" v="1695" actId="1076"/>
          <ac:picMkLst>
            <pc:docMk/>
            <pc:sldMk cId="880977745" sldId="1096"/>
            <ac:picMk id="63" creationId="{9C51FCE9-1741-410F-9B94-0CF981B1A203}"/>
          </ac:picMkLst>
        </pc:picChg>
        <pc:picChg chg="add mod">
          <ac:chgData name="Daphnée Rotenbach" userId="7408d6fd-eaeb-47da-89e0-711fd1361cf1" providerId="ADAL" clId="{E6A0457D-E37C-4445-8A05-392CF07B439F}" dt="2021-05-03T15:33:14.241" v="1738" actId="1076"/>
          <ac:picMkLst>
            <pc:docMk/>
            <pc:sldMk cId="880977745" sldId="1096"/>
            <ac:picMk id="65" creationId="{E6383847-4BFA-4DBA-AAFC-C339B6ECA128}"/>
          </ac:picMkLst>
        </pc:picChg>
      </pc:sldChg>
      <pc:sldChg chg="modSp mod">
        <pc:chgData name="Daphnée Rotenbach" userId="7408d6fd-eaeb-47da-89e0-711fd1361cf1" providerId="ADAL" clId="{E6A0457D-E37C-4445-8A05-392CF07B439F}" dt="2021-05-03T13:38:16.495" v="1135" actId="403"/>
        <pc:sldMkLst>
          <pc:docMk/>
          <pc:sldMk cId="2106207427" sldId="1115"/>
        </pc:sldMkLst>
        <pc:spChg chg="mod">
          <ac:chgData name="Daphnée Rotenbach" userId="7408d6fd-eaeb-47da-89e0-711fd1361cf1" providerId="ADAL" clId="{E6A0457D-E37C-4445-8A05-392CF07B439F}" dt="2021-05-03T13:38:16.495" v="1135" actId="403"/>
          <ac:spMkLst>
            <pc:docMk/>
            <pc:sldMk cId="2106207427" sldId="1115"/>
            <ac:spMk id="4" creationId="{8A88A47E-A267-404A-9B1D-04E26DBAFF07}"/>
          </ac:spMkLst>
        </pc:spChg>
      </pc:sldChg>
      <pc:sldChg chg="addSp delSp modSp mod">
        <pc:chgData name="Daphnée Rotenbach" userId="7408d6fd-eaeb-47da-89e0-711fd1361cf1" providerId="ADAL" clId="{E6A0457D-E37C-4445-8A05-392CF07B439F}" dt="2021-05-03T12:55:44.362" v="800"/>
        <pc:sldMkLst>
          <pc:docMk/>
          <pc:sldMk cId="4011173525" sldId="1125"/>
        </pc:sldMkLst>
        <pc:spChg chg="del mod">
          <ac:chgData name="Daphnée Rotenbach" userId="7408d6fd-eaeb-47da-89e0-711fd1361cf1" providerId="ADAL" clId="{E6A0457D-E37C-4445-8A05-392CF07B439F}" dt="2021-05-03T12:19:22.118" v="452" actId="478"/>
          <ac:spMkLst>
            <pc:docMk/>
            <pc:sldMk cId="4011173525" sldId="1125"/>
            <ac:spMk id="2" creationId="{26325284-20C8-4D21-9864-250826F6DF98}"/>
          </ac:spMkLst>
        </pc:spChg>
        <pc:spChg chg="add del mod">
          <ac:chgData name="Daphnée Rotenbach" userId="7408d6fd-eaeb-47da-89e0-711fd1361cf1" providerId="ADAL" clId="{E6A0457D-E37C-4445-8A05-392CF07B439F}" dt="2021-05-03T12:19:45.718" v="455"/>
          <ac:spMkLst>
            <pc:docMk/>
            <pc:sldMk cId="4011173525" sldId="1125"/>
            <ac:spMk id="3" creationId="{3E0C081E-2DC9-4C68-8DFE-E986E3A82158}"/>
          </ac:spMkLst>
        </pc:spChg>
        <pc:spChg chg="add mod">
          <ac:chgData name="Daphnée Rotenbach" userId="7408d6fd-eaeb-47da-89e0-711fd1361cf1" providerId="ADAL" clId="{E6A0457D-E37C-4445-8A05-392CF07B439F}" dt="2021-05-03T12:47:05.467" v="736" actId="14100"/>
          <ac:spMkLst>
            <pc:docMk/>
            <pc:sldMk cId="4011173525" sldId="1125"/>
            <ac:spMk id="4" creationId="{44308A8F-2BAE-498A-A0CC-950034010BD2}"/>
          </ac:spMkLst>
        </pc:spChg>
        <pc:spChg chg="add del mod">
          <ac:chgData name="Daphnée Rotenbach" userId="7408d6fd-eaeb-47da-89e0-711fd1361cf1" providerId="ADAL" clId="{E6A0457D-E37C-4445-8A05-392CF07B439F}" dt="2021-05-03T12:12:06.422" v="386" actId="478"/>
          <ac:spMkLst>
            <pc:docMk/>
            <pc:sldMk cId="4011173525" sldId="1125"/>
            <ac:spMk id="5" creationId="{A791646A-F26D-4391-80F0-141D238FD646}"/>
          </ac:spMkLst>
        </pc:spChg>
        <pc:spChg chg="add del mod">
          <ac:chgData name="Daphnée Rotenbach" userId="7408d6fd-eaeb-47da-89e0-711fd1361cf1" providerId="ADAL" clId="{E6A0457D-E37C-4445-8A05-392CF07B439F}" dt="2021-05-03T12:13:18.263" v="395" actId="478"/>
          <ac:spMkLst>
            <pc:docMk/>
            <pc:sldMk cId="4011173525" sldId="1125"/>
            <ac:spMk id="6" creationId="{A8BEDC80-295A-4AAC-9183-F920B94AA3A9}"/>
          </ac:spMkLst>
        </pc:spChg>
        <pc:spChg chg="mod">
          <ac:chgData name="Daphnée Rotenbach" userId="7408d6fd-eaeb-47da-89e0-711fd1361cf1" providerId="ADAL" clId="{E6A0457D-E37C-4445-8A05-392CF07B439F}" dt="2021-05-03T12:46:45.248" v="733" actId="207"/>
          <ac:spMkLst>
            <pc:docMk/>
            <pc:sldMk cId="4011173525" sldId="1125"/>
            <ac:spMk id="9" creationId="{CBE0BBB4-138E-4957-86BF-284B5AAEEE41}"/>
          </ac:spMkLst>
        </pc:spChg>
        <pc:spChg chg="add mod">
          <ac:chgData name="Daphnée Rotenbach" userId="7408d6fd-eaeb-47da-89e0-711fd1361cf1" providerId="ADAL" clId="{E6A0457D-E37C-4445-8A05-392CF07B439F}" dt="2021-05-03T12:47:05.467" v="736" actId="14100"/>
          <ac:spMkLst>
            <pc:docMk/>
            <pc:sldMk cId="4011173525" sldId="1125"/>
            <ac:spMk id="11" creationId="{15809935-B924-48FD-9E2C-07AA42EB1A05}"/>
          </ac:spMkLst>
        </pc:spChg>
        <pc:spChg chg="del">
          <ac:chgData name="Daphnée Rotenbach" userId="7408d6fd-eaeb-47da-89e0-711fd1361cf1" providerId="ADAL" clId="{E6A0457D-E37C-4445-8A05-392CF07B439F}" dt="2021-04-21T14:12:37.441" v="106" actId="478"/>
          <ac:spMkLst>
            <pc:docMk/>
            <pc:sldMk cId="4011173525" sldId="1125"/>
            <ac:spMk id="12" creationId="{7F573497-F2E9-4E7A-AE64-1228B54AE4D8}"/>
          </ac:spMkLst>
        </pc:spChg>
        <pc:spChg chg="add mod">
          <ac:chgData name="Daphnée Rotenbach" userId="7408d6fd-eaeb-47da-89e0-711fd1361cf1" providerId="ADAL" clId="{E6A0457D-E37C-4445-8A05-392CF07B439F}" dt="2021-05-03T12:47:14.970" v="738" actId="14100"/>
          <ac:spMkLst>
            <pc:docMk/>
            <pc:sldMk cId="4011173525" sldId="1125"/>
            <ac:spMk id="12" creationId="{EA921A8A-B4C3-470B-94E3-8C4DF23D793F}"/>
          </ac:spMkLst>
        </pc:spChg>
        <pc:spChg chg="add mod">
          <ac:chgData name="Daphnée Rotenbach" userId="7408d6fd-eaeb-47da-89e0-711fd1361cf1" providerId="ADAL" clId="{E6A0457D-E37C-4445-8A05-392CF07B439F}" dt="2021-05-03T12:47:14.970" v="738" actId="14100"/>
          <ac:spMkLst>
            <pc:docMk/>
            <pc:sldMk cId="4011173525" sldId="1125"/>
            <ac:spMk id="13" creationId="{87756EEA-DD99-44BC-B094-065F15D8EDE3}"/>
          </ac:spMkLst>
        </pc:spChg>
        <pc:spChg chg="add mod">
          <ac:chgData name="Daphnée Rotenbach" userId="7408d6fd-eaeb-47da-89e0-711fd1361cf1" providerId="ADAL" clId="{E6A0457D-E37C-4445-8A05-392CF07B439F}" dt="2021-05-03T12:47:14.970" v="738" actId="14100"/>
          <ac:spMkLst>
            <pc:docMk/>
            <pc:sldMk cId="4011173525" sldId="1125"/>
            <ac:spMk id="14" creationId="{2827DDF1-DCD3-4D31-B2B4-F65DA01245D8}"/>
          </ac:spMkLst>
        </pc:spChg>
        <pc:spChg chg="add mod">
          <ac:chgData name="Daphnée Rotenbach" userId="7408d6fd-eaeb-47da-89e0-711fd1361cf1" providerId="ADAL" clId="{E6A0457D-E37C-4445-8A05-392CF07B439F}" dt="2021-05-03T12:47:14.970" v="738" actId="14100"/>
          <ac:spMkLst>
            <pc:docMk/>
            <pc:sldMk cId="4011173525" sldId="1125"/>
            <ac:spMk id="15" creationId="{55D24B24-112A-49B6-8443-7850B6934558}"/>
          </ac:spMkLst>
        </pc:spChg>
        <pc:spChg chg="del mod">
          <ac:chgData name="Daphnée Rotenbach" userId="7408d6fd-eaeb-47da-89e0-711fd1361cf1" providerId="ADAL" clId="{E6A0457D-E37C-4445-8A05-392CF07B439F}" dt="2021-04-21T14:12:37.441" v="106" actId="478"/>
          <ac:spMkLst>
            <pc:docMk/>
            <pc:sldMk cId="4011173525" sldId="1125"/>
            <ac:spMk id="15" creationId="{B99DF7E6-98FE-45FB-9AC4-CD40A702521F}"/>
          </ac:spMkLst>
        </pc:spChg>
        <pc:spChg chg="add mod">
          <ac:chgData name="Daphnée Rotenbach" userId="7408d6fd-eaeb-47da-89e0-711fd1361cf1" providerId="ADAL" clId="{E6A0457D-E37C-4445-8A05-392CF07B439F}" dt="2021-05-03T12:55:44.362" v="800"/>
          <ac:spMkLst>
            <pc:docMk/>
            <pc:sldMk cId="4011173525" sldId="1125"/>
            <ac:spMk id="16" creationId="{9FE0849A-A611-4B7B-90DB-17043AB6DAC8}"/>
          </ac:spMkLst>
        </pc:spChg>
        <pc:spChg chg="del mod">
          <ac:chgData name="Daphnée Rotenbach" userId="7408d6fd-eaeb-47da-89e0-711fd1361cf1" providerId="ADAL" clId="{E6A0457D-E37C-4445-8A05-392CF07B439F}" dt="2021-04-21T14:12:37.441" v="106" actId="478"/>
          <ac:spMkLst>
            <pc:docMk/>
            <pc:sldMk cId="4011173525" sldId="1125"/>
            <ac:spMk id="31" creationId="{B2190D1D-31AA-451B-9266-4F72B041B0F6}"/>
          </ac:spMkLst>
        </pc:spChg>
        <pc:spChg chg="del mod">
          <ac:chgData name="Daphnée Rotenbach" userId="7408d6fd-eaeb-47da-89e0-711fd1361cf1" providerId="ADAL" clId="{E6A0457D-E37C-4445-8A05-392CF07B439F}" dt="2021-04-21T14:12:37.441" v="106" actId="478"/>
          <ac:spMkLst>
            <pc:docMk/>
            <pc:sldMk cId="4011173525" sldId="1125"/>
            <ac:spMk id="32" creationId="{B5BE4D6D-2028-405C-AE28-156F664B9CA7}"/>
          </ac:spMkLst>
        </pc:spChg>
        <pc:spChg chg="del mod">
          <ac:chgData name="Daphnée Rotenbach" userId="7408d6fd-eaeb-47da-89e0-711fd1361cf1" providerId="ADAL" clId="{E6A0457D-E37C-4445-8A05-392CF07B439F}" dt="2021-04-21T14:12:37.441" v="106" actId="478"/>
          <ac:spMkLst>
            <pc:docMk/>
            <pc:sldMk cId="4011173525" sldId="1125"/>
            <ac:spMk id="33" creationId="{8438B3F5-514A-48FC-9C0F-E59E34E9FCA1}"/>
          </ac:spMkLst>
        </pc:spChg>
        <pc:spChg chg="del mod">
          <ac:chgData name="Daphnée Rotenbach" userId="7408d6fd-eaeb-47da-89e0-711fd1361cf1" providerId="ADAL" clId="{E6A0457D-E37C-4445-8A05-392CF07B439F}" dt="2021-04-21T14:12:37.441" v="106" actId="478"/>
          <ac:spMkLst>
            <pc:docMk/>
            <pc:sldMk cId="4011173525" sldId="1125"/>
            <ac:spMk id="34" creationId="{067D8DC0-2991-4BA9-BA6D-B7994EE18FC8}"/>
          </ac:spMkLst>
        </pc:spChg>
        <pc:spChg chg="del">
          <ac:chgData name="Daphnée Rotenbach" userId="7408d6fd-eaeb-47da-89e0-711fd1361cf1" providerId="ADAL" clId="{E6A0457D-E37C-4445-8A05-392CF07B439F}" dt="2021-04-21T14:12:46.022" v="109" actId="478"/>
          <ac:spMkLst>
            <pc:docMk/>
            <pc:sldMk cId="4011173525" sldId="1125"/>
            <ac:spMk id="40" creationId="{06BAF9CB-54CD-41E8-B56C-C83A8FC42E40}"/>
          </ac:spMkLst>
        </pc:spChg>
        <pc:spChg chg="del mod">
          <ac:chgData name="Daphnée Rotenbach" userId="7408d6fd-eaeb-47da-89e0-711fd1361cf1" providerId="ADAL" clId="{E6A0457D-E37C-4445-8A05-392CF07B439F}" dt="2021-04-21T14:12:37.441" v="106" actId="478"/>
          <ac:spMkLst>
            <pc:docMk/>
            <pc:sldMk cId="4011173525" sldId="1125"/>
            <ac:spMk id="41" creationId="{8451CD2F-576F-49A8-95D9-F5C8BAFFF5F5}"/>
          </ac:spMkLst>
        </pc:spChg>
        <pc:picChg chg="mod">
          <ac:chgData name="Daphnée Rotenbach" userId="7408d6fd-eaeb-47da-89e0-711fd1361cf1" providerId="ADAL" clId="{E6A0457D-E37C-4445-8A05-392CF07B439F}" dt="2021-05-03T12:46:28.358" v="731" actId="1076"/>
          <ac:picMkLst>
            <pc:docMk/>
            <pc:sldMk cId="4011173525" sldId="1125"/>
            <ac:picMk id="10" creationId="{FA8269E7-E4A1-4DFE-850F-63C75FBE74AA}"/>
          </ac:picMkLst>
        </pc:picChg>
      </pc:sldChg>
      <pc:sldChg chg="addSp delSp modSp add mod">
        <pc:chgData name="Daphnée Rotenbach" userId="7408d6fd-eaeb-47da-89e0-711fd1361cf1" providerId="ADAL" clId="{E6A0457D-E37C-4445-8A05-392CF07B439F}" dt="2021-05-03T15:12:44.933" v="1646"/>
        <pc:sldMkLst>
          <pc:docMk/>
          <pc:sldMk cId="4213923831" sldId="1127"/>
        </pc:sldMkLst>
        <pc:spChg chg="add del mod">
          <ac:chgData name="Daphnée Rotenbach" userId="7408d6fd-eaeb-47da-89e0-711fd1361cf1" providerId="ADAL" clId="{E6A0457D-E37C-4445-8A05-392CF07B439F}" dt="2021-05-03T14:17:32.172" v="1225" actId="478"/>
          <ac:spMkLst>
            <pc:docMk/>
            <pc:sldMk cId="4213923831" sldId="1127"/>
            <ac:spMk id="3" creationId="{42A594A7-BC9C-4B7C-801E-D348AF31E0A2}"/>
          </ac:spMkLst>
        </pc:spChg>
        <pc:spChg chg="del">
          <ac:chgData name="Daphnée Rotenbach" userId="7408d6fd-eaeb-47da-89e0-711fd1361cf1" providerId="ADAL" clId="{E6A0457D-E37C-4445-8A05-392CF07B439F}" dt="2021-05-03T14:17:29.388" v="1224" actId="478"/>
          <ac:spMkLst>
            <pc:docMk/>
            <pc:sldMk cId="4213923831" sldId="1127"/>
            <ac:spMk id="4" creationId="{AC0DB80F-1DD0-417F-8500-363D16040C73}"/>
          </ac:spMkLst>
        </pc:spChg>
        <pc:spChg chg="del">
          <ac:chgData name="Daphnée Rotenbach" userId="7408d6fd-eaeb-47da-89e0-711fd1361cf1" providerId="ADAL" clId="{E6A0457D-E37C-4445-8A05-392CF07B439F}" dt="2021-05-03T14:17:34.427" v="1226" actId="478"/>
          <ac:spMkLst>
            <pc:docMk/>
            <pc:sldMk cId="4213923831" sldId="1127"/>
            <ac:spMk id="39" creationId="{62E5E382-4FC1-4727-BFEF-C03ED90387EB}"/>
          </ac:spMkLst>
        </pc:spChg>
        <pc:spChg chg="del">
          <ac:chgData name="Daphnée Rotenbach" userId="7408d6fd-eaeb-47da-89e0-711fd1361cf1" providerId="ADAL" clId="{E6A0457D-E37C-4445-8A05-392CF07B439F}" dt="2021-05-03T14:17:34.427" v="1226" actId="478"/>
          <ac:spMkLst>
            <pc:docMk/>
            <pc:sldMk cId="4213923831" sldId="1127"/>
            <ac:spMk id="40" creationId="{D107CF24-3AE4-4DDD-A5A9-83E99ACC3147}"/>
          </ac:spMkLst>
        </pc:spChg>
        <pc:spChg chg="add mod">
          <ac:chgData name="Daphnée Rotenbach" userId="7408d6fd-eaeb-47da-89e0-711fd1361cf1" providerId="ADAL" clId="{E6A0457D-E37C-4445-8A05-392CF07B439F}" dt="2021-05-03T14:18:16.569" v="1246" actId="1036"/>
          <ac:spMkLst>
            <pc:docMk/>
            <pc:sldMk cId="4213923831" sldId="1127"/>
            <ac:spMk id="41" creationId="{612D4A72-B865-40D6-A6B3-838FD59C3C0C}"/>
          </ac:spMkLst>
        </pc:spChg>
        <pc:spChg chg="add del mod">
          <ac:chgData name="Daphnée Rotenbach" userId="7408d6fd-eaeb-47da-89e0-711fd1361cf1" providerId="ADAL" clId="{E6A0457D-E37C-4445-8A05-392CF07B439F}" dt="2021-05-03T15:12:23.798" v="1608"/>
          <ac:spMkLst>
            <pc:docMk/>
            <pc:sldMk cId="4213923831" sldId="1127"/>
            <ac:spMk id="42" creationId="{F5D89454-C724-48A2-9209-827B6582800F}"/>
          </ac:spMkLst>
        </pc:spChg>
        <pc:spChg chg="del">
          <ac:chgData name="Daphnée Rotenbach" userId="7408d6fd-eaeb-47da-89e0-711fd1361cf1" providerId="ADAL" clId="{E6A0457D-E37C-4445-8A05-392CF07B439F}" dt="2021-05-03T14:17:36.616" v="1228" actId="478"/>
          <ac:spMkLst>
            <pc:docMk/>
            <pc:sldMk cId="4213923831" sldId="1127"/>
            <ac:spMk id="43" creationId="{B8045584-01FE-4C61-91AF-3257843B4B89}"/>
          </ac:spMkLst>
        </pc:spChg>
        <pc:spChg chg="del">
          <ac:chgData name="Daphnée Rotenbach" userId="7408d6fd-eaeb-47da-89e0-711fd1361cf1" providerId="ADAL" clId="{E6A0457D-E37C-4445-8A05-392CF07B439F}" dt="2021-05-03T14:17:39.454" v="1230" actId="478"/>
          <ac:spMkLst>
            <pc:docMk/>
            <pc:sldMk cId="4213923831" sldId="1127"/>
            <ac:spMk id="44" creationId="{2A6FD2F5-AA83-4F1B-A980-6239C10D4E1E}"/>
          </ac:spMkLst>
        </pc:spChg>
        <pc:spChg chg="del">
          <ac:chgData name="Daphnée Rotenbach" userId="7408d6fd-eaeb-47da-89e0-711fd1361cf1" providerId="ADAL" clId="{E6A0457D-E37C-4445-8A05-392CF07B439F}" dt="2021-05-03T14:17:38.333" v="1229" actId="478"/>
          <ac:spMkLst>
            <pc:docMk/>
            <pc:sldMk cId="4213923831" sldId="1127"/>
            <ac:spMk id="45" creationId="{F388C270-203F-43E2-AE03-6953AF8DEB93}"/>
          </ac:spMkLst>
        </pc:spChg>
        <pc:spChg chg="add mod">
          <ac:chgData name="Daphnée Rotenbach" userId="7408d6fd-eaeb-47da-89e0-711fd1361cf1" providerId="ADAL" clId="{E6A0457D-E37C-4445-8A05-392CF07B439F}" dt="2021-05-03T15:12:44.933" v="1646"/>
          <ac:spMkLst>
            <pc:docMk/>
            <pc:sldMk cId="4213923831" sldId="1127"/>
            <ac:spMk id="46" creationId="{9EA62F21-69D9-4BF4-B8A5-B963DC759D72}"/>
          </ac:spMkLst>
        </pc:spChg>
        <pc:spChg chg="mod">
          <ac:chgData name="Daphnée Rotenbach" userId="7408d6fd-eaeb-47da-89e0-711fd1361cf1" providerId="ADAL" clId="{E6A0457D-E37C-4445-8A05-392CF07B439F}" dt="2021-05-03T15:12:40.857" v="1645" actId="1037"/>
          <ac:spMkLst>
            <pc:docMk/>
            <pc:sldMk cId="4213923831" sldId="1127"/>
            <ac:spMk id="47" creationId="{D703742F-58F4-4602-B530-98DD3733BA74}"/>
          </ac:spMkLst>
        </pc:spChg>
        <pc:spChg chg="mod">
          <ac:chgData name="Daphnée Rotenbach" userId="7408d6fd-eaeb-47da-89e0-711fd1361cf1" providerId="ADAL" clId="{E6A0457D-E37C-4445-8A05-392CF07B439F}" dt="2021-05-03T15:12:40.857" v="1645" actId="1037"/>
          <ac:spMkLst>
            <pc:docMk/>
            <pc:sldMk cId="4213923831" sldId="1127"/>
            <ac:spMk id="51" creationId="{B2312BBA-2972-4E27-A399-C2FBF2C402BE}"/>
          </ac:spMkLst>
        </pc:spChg>
        <pc:spChg chg="mod">
          <ac:chgData name="Daphnée Rotenbach" userId="7408d6fd-eaeb-47da-89e0-711fd1361cf1" providerId="ADAL" clId="{E6A0457D-E37C-4445-8A05-392CF07B439F}" dt="2021-05-03T15:12:40.857" v="1645" actId="1037"/>
          <ac:spMkLst>
            <pc:docMk/>
            <pc:sldMk cId="4213923831" sldId="1127"/>
            <ac:spMk id="52" creationId="{77A17124-FD98-4010-B265-E84DEC057DED}"/>
          </ac:spMkLst>
        </pc:spChg>
        <pc:spChg chg="mod">
          <ac:chgData name="Daphnée Rotenbach" userId="7408d6fd-eaeb-47da-89e0-711fd1361cf1" providerId="ADAL" clId="{E6A0457D-E37C-4445-8A05-392CF07B439F}" dt="2021-05-03T15:12:40.857" v="1645" actId="1037"/>
          <ac:spMkLst>
            <pc:docMk/>
            <pc:sldMk cId="4213923831" sldId="1127"/>
            <ac:spMk id="54" creationId="{FA575D11-AB15-4023-B3C1-96BD8DB76271}"/>
          </ac:spMkLst>
        </pc:spChg>
        <pc:spChg chg="mod">
          <ac:chgData name="Daphnée Rotenbach" userId="7408d6fd-eaeb-47da-89e0-711fd1361cf1" providerId="ADAL" clId="{E6A0457D-E37C-4445-8A05-392CF07B439F}" dt="2021-05-03T15:12:40.857" v="1645" actId="1037"/>
          <ac:spMkLst>
            <pc:docMk/>
            <pc:sldMk cId="4213923831" sldId="1127"/>
            <ac:spMk id="55" creationId="{C394E317-31C5-4491-A156-5BDDB37DDF07}"/>
          </ac:spMkLst>
        </pc:spChg>
        <pc:spChg chg="mod">
          <ac:chgData name="Daphnée Rotenbach" userId="7408d6fd-eaeb-47da-89e0-711fd1361cf1" providerId="ADAL" clId="{E6A0457D-E37C-4445-8A05-392CF07B439F}" dt="2021-05-03T15:12:40.857" v="1645" actId="1037"/>
          <ac:spMkLst>
            <pc:docMk/>
            <pc:sldMk cId="4213923831" sldId="1127"/>
            <ac:spMk id="56" creationId="{22B6E6CF-6409-4923-A1F0-53494C49B2E1}"/>
          </ac:spMkLst>
        </pc:spChg>
        <pc:spChg chg="mod">
          <ac:chgData name="Daphnée Rotenbach" userId="7408d6fd-eaeb-47da-89e0-711fd1361cf1" providerId="ADAL" clId="{E6A0457D-E37C-4445-8A05-392CF07B439F}" dt="2021-05-03T15:12:40.857" v="1645" actId="1037"/>
          <ac:spMkLst>
            <pc:docMk/>
            <pc:sldMk cId="4213923831" sldId="1127"/>
            <ac:spMk id="57" creationId="{AC0D4848-9214-4FA8-A0A9-1545A5E8A24B}"/>
          </ac:spMkLst>
        </pc:spChg>
        <pc:spChg chg="mod">
          <ac:chgData name="Daphnée Rotenbach" userId="7408d6fd-eaeb-47da-89e0-711fd1361cf1" providerId="ADAL" clId="{E6A0457D-E37C-4445-8A05-392CF07B439F}" dt="2021-05-03T15:12:40.857" v="1645" actId="1037"/>
          <ac:spMkLst>
            <pc:docMk/>
            <pc:sldMk cId="4213923831" sldId="1127"/>
            <ac:spMk id="58" creationId="{DAF26A30-38F1-41A5-9626-E902EFC50308}"/>
          </ac:spMkLst>
        </pc:spChg>
        <pc:spChg chg="mod">
          <ac:chgData name="Daphnée Rotenbach" userId="7408d6fd-eaeb-47da-89e0-711fd1361cf1" providerId="ADAL" clId="{E6A0457D-E37C-4445-8A05-392CF07B439F}" dt="2021-05-03T15:12:40.857" v="1645" actId="1037"/>
          <ac:spMkLst>
            <pc:docMk/>
            <pc:sldMk cId="4213923831" sldId="1127"/>
            <ac:spMk id="59" creationId="{3E7FD99A-29A0-4A84-9F68-72BF943679E8}"/>
          </ac:spMkLst>
        </pc:spChg>
        <pc:spChg chg="mod">
          <ac:chgData name="Daphnée Rotenbach" userId="7408d6fd-eaeb-47da-89e0-711fd1361cf1" providerId="ADAL" clId="{E6A0457D-E37C-4445-8A05-392CF07B439F}" dt="2021-05-03T15:12:40.857" v="1645" actId="1037"/>
          <ac:spMkLst>
            <pc:docMk/>
            <pc:sldMk cId="4213923831" sldId="1127"/>
            <ac:spMk id="60" creationId="{26946AB9-2D1B-42F9-B1B6-BAADFFC5C37A}"/>
          </ac:spMkLst>
        </pc:spChg>
        <pc:spChg chg="mod">
          <ac:chgData name="Daphnée Rotenbach" userId="7408d6fd-eaeb-47da-89e0-711fd1361cf1" providerId="ADAL" clId="{E6A0457D-E37C-4445-8A05-392CF07B439F}" dt="2021-05-03T15:12:40.857" v="1645" actId="1037"/>
          <ac:spMkLst>
            <pc:docMk/>
            <pc:sldMk cId="4213923831" sldId="1127"/>
            <ac:spMk id="61" creationId="{F0818A78-704D-41C5-AB7E-030D8341A8C6}"/>
          </ac:spMkLst>
        </pc:spChg>
        <pc:spChg chg="mod">
          <ac:chgData name="Daphnée Rotenbach" userId="7408d6fd-eaeb-47da-89e0-711fd1361cf1" providerId="ADAL" clId="{E6A0457D-E37C-4445-8A05-392CF07B439F}" dt="2021-05-03T15:12:40.857" v="1645" actId="1037"/>
          <ac:spMkLst>
            <pc:docMk/>
            <pc:sldMk cId="4213923831" sldId="1127"/>
            <ac:spMk id="66" creationId="{FF958353-6D3C-48F2-BB22-504268BC9095}"/>
          </ac:spMkLst>
        </pc:spChg>
        <pc:spChg chg="mod">
          <ac:chgData name="Daphnée Rotenbach" userId="7408d6fd-eaeb-47da-89e0-711fd1361cf1" providerId="ADAL" clId="{E6A0457D-E37C-4445-8A05-392CF07B439F}" dt="2021-05-03T15:12:40.857" v="1645" actId="1037"/>
          <ac:spMkLst>
            <pc:docMk/>
            <pc:sldMk cId="4213923831" sldId="1127"/>
            <ac:spMk id="67" creationId="{DD1AE404-3516-4EF5-B9F6-A1C2552D253E}"/>
          </ac:spMkLst>
        </pc:spChg>
        <pc:spChg chg="mod">
          <ac:chgData name="Daphnée Rotenbach" userId="7408d6fd-eaeb-47da-89e0-711fd1361cf1" providerId="ADAL" clId="{E6A0457D-E37C-4445-8A05-392CF07B439F}" dt="2021-05-03T15:12:40.857" v="1645" actId="1037"/>
          <ac:spMkLst>
            <pc:docMk/>
            <pc:sldMk cId="4213923831" sldId="1127"/>
            <ac:spMk id="68" creationId="{82565B00-3DF5-486F-8B04-1AF5D4B0E87B}"/>
          </ac:spMkLst>
        </pc:spChg>
        <pc:spChg chg="mod">
          <ac:chgData name="Daphnée Rotenbach" userId="7408d6fd-eaeb-47da-89e0-711fd1361cf1" providerId="ADAL" clId="{E6A0457D-E37C-4445-8A05-392CF07B439F}" dt="2021-05-03T15:12:40.857" v="1645" actId="1037"/>
          <ac:spMkLst>
            <pc:docMk/>
            <pc:sldMk cId="4213923831" sldId="1127"/>
            <ac:spMk id="69" creationId="{B0E4F700-F81A-4B63-B8AC-2C095A5CE0B5}"/>
          </ac:spMkLst>
        </pc:spChg>
        <pc:spChg chg="mod">
          <ac:chgData name="Daphnée Rotenbach" userId="7408d6fd-eaeb-47da-89e0-711fd1361cf1" providerId="ADAL" clId="{E6A0457D-E37C-4445-8A05-392CF07B439F}" dt="2021-05-03T15:12:40.857" v="1645" actId="1037"/>
          <ac:spMkLst>
            <pc:docMk/>
            <pc:sldMk cId="4213923831" sldId="1127"/>
            <ac:spMk id="70" creationId="{97438273-D7E9-452D-9460-1097F84539EA}"/>
          </ac:spMkLst>
        </pc:spChg>
        <pc:spChg chg="mod">
          <ac:chgData name="Daphnée Rotenbach" userId="7408d6fd-eaeb-47da-89e0-711fd1361cf1" providerId="ADAL" clId="{E6A0457D-E37C-4445-8A05-392CF07B439F}" dt="2021-05-03T15:12:40.857" v="1645" actId="1037"/>
          <ac:spMkLst>
            <pc:docMk/>
            <pc:sldMk cId="4213923831" sldId="1127"/>
            <ac:spMk id="72" creationId="{C4CB9A56-AAFA-4235-B726-8FB091F1BD17}"/>
          </ac:spMkLst>
        </pc:spChg>
        <pc:spChg chg="mod">
          <ac:chgData name="Daphnée Rotenbach" userId="7408d6fd-eaeb-47da-89e0-711fd1361cf1" providerId="ADAL" clId="{E6A0457D-E37C-4445-8A05-392CF07B439F}" dt="2021-05-03T15:12:40.857" v="1645" actId="1037"/>
          <ac:spMkLst>
            <pc:docMk/>
            <pc:sldMk cId="4213923831" sldId="1127"/>
            <ac:spMk id="73" creationId="{A1FAC56E-6BC3-42AB-B215-FAF3D9E3E559}"/>
          </ac:spMkLst>
        </pc:spChg>
        <pc:spChg chg="mod">
          <ac:chgData name="Daphnée Rotenbach" userId="7408d6fd-eaeb-47da-89e0-711fd1361cf1" providerId="ADAL" clId="{E6A0457D-E37C-4445-8A05-392CF07B439F}" dt="2021-05-03T15:12:40.857" v="1645" actId="1037"/>
          <ac:spMkLst>
            <pc:docMk/>
            <pc:sldMk cId="4213923831" sldId="1127"/>
            <ac:spMk id="74" creationId="{ED1A0B9A-4ACB-489F-B902-08C2355997C8}"/>
          </ac:spMkLst>
        </pc:spChg>
        <pc:cxnChg chg="mod">
          <ac:chgData name="Daphnée Rotenbach" userId="7408d6fd-eaeb-47da-89e0-711fd1361cf1" providerId="ADAL" clId="{E6A0457D-E37C-4445-8A05-392CF07B439F}" dt="2021-05-03T15:12:40.857" v="1645" actId="1037"/>
          <ac:cxnSpMkLst>
            <pc:docMk/>
            <pc:sldMk cId="4213923831" sldId="1127"/>
            <ac:cxnSpMk id="20" creationId="{47A76B89-3DAA-4ACF-A66E-EB8F521BC92E}"/>
          </ac:cxnSpMkLst>
        </pc:cxnChg>
        <pc:cxnChg chg="mod">
          <ac:chgData name="Daphnée Rotenbach" userId="7408d6fd-eaeb-47da-89e0-711fd1361cf1" providerId="ADAL" clId="{E6A0457D-E37C-4445-8A05-392CF07B439F}" dt="2021-05-03T15:12:40.857" v="1645" actId="1037"/>
          <ac:cxnSpMkLst>
            <pc:docMk/>
            <pc:sldMk cId="4213923831" sldId="1127"/>
            <ac:cxnSpMk id="23" creationId="{95F2E87F-B721-4965-9353-162327A38234}"/>
          </ac:cxnSpMkLst>
        </pc:cxnChg>
        <pc:cxnChg chg="mod">
          <ac:chgData name="Daphnée Rotenbach" userId="7408d6fd-eaeb-47da-89e0-711fd1361cf1" providerId="ADAL" clId="{E6A0457D-E37C-4445-8A05-392CF07B439F}" dt="2021-05-03T15:12:40.857" v="1645" actId="1037"/>
          <ac:cxnSpMkLst>
            <pc:docMk/>
            <pc:sldMk cId="4213923831" sldId="1127"/>
            <ac:cxnSpMk id="35" creationId="{4746FDD8-D734-4070-B25D-217149906B5C}"/>
          </ac:cxnSpMkLst>
        </pc:cxnChg>
        <pc:cxnChg chg="mod">
          <ac:chgData name="Daphnée Rotenbach" userId="7408d6fd-eaeb-47da-89e0-711fd1361cf1" providerId="ADAL" clId="{E6A0457D-E37C-4445-8A05-392CF07B439F}" dt="2021-05-03T15:12:40.857" v="1645" actId="1037"/>
          <ac:cxnSpMkLst>
            <pc:docMk/>
            <pc:sldMk cId="4213923831" sldId="1127"/>
            <ac:cxnSpMk id="37" creationId="{AE76AF46-84D6-444E-91E4-39E24B98F748}"/>
          </ac:cxnSpMkLst>
        </pc:cxnChg>
        <pc:cxnChg chg="mod">
          <ac:chgData name="Daphnée Rotenbach" userId="7408d6fd-eaeb-47da-89e0-711fd1361cf1" providerId="ADAL" clId="{E6A0457D-E37C-4445-8A05-392CF07B439F}" dt="2021-05-03T15:12:40.857" v="1645" actId="1037"/>
          <ac:cxnSpMkLst>
            <pc:docMk/>
            <pc:sldMk cId="4213923831" sldId="1127"/>
            <ac:cxnSpMk id="38" creationId="{6A3B1DF8-DEFF-440B-A079-062961E960A5}"/>
          </ac:cxnSpMkLst>
        </pc:cxnChg>
        <pc:cxnChg chg="mod">
          <ac:chgData name="Daphnée Rotenbach" userId="7408d6fd-eaeb-47da-89e0-711fd1361cf1" providerId="ADAL" clId="{E6A0457D-E37C-4445-8A05-392CF07B439F}" dt="2021-05-03T15:12:40.857" v="1645" actId="1037"/>
          <ac:cxnSpMkLst>
            <pc:docMk/>
            <pc:sldMk cId="4213923831" sldId="1127"/>
            <ac:cxnSpMk id="48" creationId="{33681C3A-8968-4165-AA79-68703C8DBB80}"/>
          </ac:cxnSpMkLst>
        </pc:cxnChg>
        <pc:cxnChg chg="mod">
          <ac:chgData name="Daphnée Rotenbach" userId="7408d6fd-eaeb-47da-89e0-711fd1361cf1" providerId="ADAL" clId="{E6A0457D-E37C-4445-8A05-392CF07B439F}" dt="2021-05-03T15:12:40.857" v="1645" actId="1037"/>
          <ac:cxnSpMkLst>
            <pc:docMk/>
            <pc:sldMk cId="4213923831" sldId="1127"/>
            <ac:cxnSpMk id="49" creationId="{F9838D8E-2623-436E-9F4F-056D210DE017}"/>
          </ac:cxnSpMkLst>
        </pc:cxnChg>
        <pc:cxnChg chg="mod">
          <ac:chgData name="Daphnée Rotenbach" userId="7408d6fd-eaeb-47da-89e0-711fd1361cf1" providerId="ADAL" clId="{E6A0457D-E37C-4445-8A05-392CF07B439F}" dt="2021-05-03T15:12:40.857" v="1645" actId="1037"/>
          <ac:cxnSpMkLst>
            <pc:docMk/>
            <pc:sldMk cId="4213923831" sldId="1127"/>
            <ac:cxnSpMk id="63" creationId="{3D68DA8C-D561-4168-9FE9-D3EA995317C8}"/>
          </ac:cxnSpMkLst>
        </pc:cxnChg>
        <pc:cxnChg chg="mod">
          <ac:chgData name="Daphnée Rotenbach" userId="7408d6fd-eaeb-47da-89e0-711fd1361cf1" providerId="ADAL" clId="{E6A0457D-E37C-4445-8A05-392CF07B439F}" dt="2021-05-03T15:12:40.857" v="1645" actId="1037"/>
          <ac:cxnSpMkLst>
            <pc:docMk/>
            <pc:sldMk cId="4213923831" sldId="1127"/>
            <ac:cxnSpMk id="65" creationId="{A9AD535B-6834-44A3-8E9E-6AC3FE356127}"/>
          </ac:cxnSpMkLst>
        </pc:cxnChg>
      </pc:sldChg>
      <pc:sldChg chg="modSp mod">
        <pc:chgData name="Daphnée Rotenbach" userId="7408d6fd-eaeb-47da-89e0-711fd1361cf1" providerId="ADAL" clId="{E6A0457D-E37C-4445-8A05-392CF07B439F}" dt="2021-05-03T12:44:45.231" v="715" actId="255"/>
        <pc:sldMkLst>
          <pc:docMk/>
          <pc:sldMk cId="79996081" sldId="1243"/>
        </pc:sldMkLst>
        <pc:spChg chg="mod">
          <ac:chgData name="Daphnée Rotenbach" userId="7408d6fd-eaeb-47da-89e0-711fd1361cf1" providerId="ADAL" clId="{E6A0457D-E37C-4445-8A05-392CF07B439F}" dt="2021-05-03T12:43:50.163" v="702" actId="20577"/>
          <ac:spMkLst>
            <pc:docMk/>
            <pc:sldMk cId="79996081" sldId="1243"/>
            <ac:spMk id="4" creationId="{5AA7E92B-4778-476F-965C-993AC5F48229}"/>
          </ac:spMkLst>
        </pc:spChg>
        <pc:spChg chg="mod">
          <ac:chgData name="Daphnée Rotenbach" userId="7408d6fd-eaeb-47da-89e0-711fd1361cf1" providerId="ADAL" clId="{E6A0457D-E37C-4445-8A05-392CF07B439F}" dt="2021-05-03T12:44:45.231" v="715" actId="255"/>
          <ac:spMkLst>
            <pc:docMk/>
            <pc:sldMk cId="79996081" sldId="1243"/>
            <ac:spMk id="10" creationId="{E1A92823-032F-4901-864B-2E943BF68610}"/>
          </ac:spMkLst>
        </pc:spChg>
      </pc:sldChg>
      <pc:sldChg chg="modSp mod">
        <pc:chgData name="Daphnée Rotenbach" userId="7408d6fd-eaeb-47da-89e0-711fd1361cf1" providerId="ADAL" clId="{E6A0457D-E37C-4445-8A05-392CF07B439F}" dt="2021-05-03T13:38:49.874" v="1157" actId="207"/>
        <pc:sldMkLst>
          <pc:docMk/>
          <pc:sldMk cId="1638109158" sldId="1358"/>
        </pc:sldMkLst>
        <pc:spChg chg="mod">
          <ac:chgData name="Daphnée Rotenbach" userId="7408d6fd-eaeb-47da-89e0-711fd1361cf1" providerId="ADAL" clId="{E6A0457D-E37C-4445-8A05-392CF07B439F}" dt="2021-05-03T13:38:49.874" v="1157" actId="207"/>
          <ac:spMkLst>
            <pc:docMk/>
            <pc:sldMk cId="1638109158" sldId="1358"/>
            <ac:spMk id="4" creationId="{398C761B-82B2-474C-B368-C72E8928DA2D}"/>
          </ac:spMkLst>
        </pc:spChg>
      </pc:sldChg>
      <pc:sldChg chg="addSp modSp mod">
        <pc:chgData name="Daphnée Rotenbach" userId="7408d6fd-eaeb-47da-89e0-711fd1361cf1" providerId="ADAL" clId="{E6A0457D-E37C-4445-8A05-392CF07B439F}" dt="2021-05-03T15:13:15.655" v="1649"/>
        <pc:sldMkLst>
          <pc:docMk/>
          <pc:sldMk cId="566436201" sldId="1359"/>
        </pc:sldMkLst>
        <pc:spChg chg="mod">
          <ac:chgData name="Daphnée Rotenbach" userId="7408d6fd-eaeb-47da-89e0-711fd1361cf1" providerId="ADAL" clId="{E6A0457D-E37C-4445-8A05-392CF07B439F}" dt="2021-05-03T13:40:50.825" v="1171" actId="207"/>
          <ac:spMkLst>
            <pc:docMk/>
            <pc:sldMk cId="566436201" sldId="1359"/>
            <ac:spMk id="4" creationId="{398C761B-82B2-474C-B368-C72E8928DA2D}"/>
          </ac:spMkLst>
        </pc:spChg>
        <pc:spChg chg="add mod">
          <ac:chgData name="Daphnée Rotenbach" userId="7408d6fd-eaeb-47da-89e0-711fd1361cf1" providerId="ADAL" clId="{E6A0457D-E37C-4445-8A05-392CF07B439F}" dt="2021-05-03T15:13:15.655" v="1649"/>
          <ac:spMkLst>
            <pc:docMk/>
            <pc:sldMk cId="566436201" sldId="1359"/>
            <ac:spMk id="5" creationId="{791558AE-D13B-4DEA-A004-201278E6451C}"/>
          </ac:spMkLst>
        </pc:spChg>
        <pc:picChg chg="mod">
          <ac:chgData name="Daphnée Rotenbach" userId="7408d6fd-eaeb-47da-89e0-711fd1361cf1" providerId="ADAL" clId="{E6A0457D-E37C-4445-8A05-392CF07B439F}" dt="2021-05-03T13:40:40.708" v="1167" actId="1076"/>
          <ac:picMkLst>
            <pc:docMk/>
            <pc:sldMk cId="566436201" sldId="1359"/>
            <ac:picMk id="7" creationId="{F821B401-4C7A-484D-8B50-D8A1DFFFD7A2}"/>
          </ac:picMkLst>
        </pc:picChg>
      </pc:sldChg>
      <pc:sldChg chg="modSp mod">
        <pc:chgData name="Daphnée Rotenbach" userId="7408d6fd-eaeb-47da-89e0-711fd1361cf1" providerId="ADAL" clId="{E6A0457D-E37C-4445-8A05-392CF07B439F}" dt="2021-05-03T13:40:04.196" v="1160" actId="207"/>
        <pc:sldMkLst>
          <pc:docMk/>
          <pc:sldMk cId="1090580661" sldId="1360"/>
        </pc:sldMkLst>
        <pc:spChg chg="mod">
          <ac:chgData name="Daphnée Rotenbach" userId="7408d6fd-eaeb-47da-89e0-711fd1361cf1" providerId="ADAL" clId="{E6A0457D-E37C-4445-8A05-392CF07B439F}" dt="2021-05-03T13:40:04.196" v="1160" actId="207"/>
          <ac:spMkLst>
            <pc:docMk/>
            <pc:sldMk cId="1090580661" sldId="1360"/>
            <ac:spMk id="4" creationId="{398C761B-82B2-474C-B368-C72E8928DA2D}"/>
          </ac:spMkLst>
        </pc:spChg>
      </pc:sldChg>
      <pc:sldChg chg="addSp delSp modSp">
        <pc:chgData name="Daphnée Rotenbach" userId="7408d6fd-eaeb-47da-89e0-711fd1361cf1" providerId="ADAL" clId="{E6A0457D-E37C-4445-8A05-392CF07B439F}" dt="2021-05-03T12:08:49.243" v="371" actId="1037"/>
        <pc:sldMkLst>
          <pc:docMk/>
          <pc:sldMk cId="891851627" sldId="1522"/>
        </pc:sldMkLst>
        <pc:picChg chg="add mod">
          <ac:chgData name="Daphnée Rotenbach" userId="7408d6fd-eaeb-47da-89e0-711fd1361cf1" providerId="ADAL" clId="{E6A0457D-E37C-4445-8A05-392CF07B439F}" dt="2021-05-03T12:08:24.967" v="354" actId="1038"/>
          <ac:picMkLst>
            <pc:docMk/>
            <pc:sldMk cId="891851627" sldId="1522"/>
            <ac:picMk id="1026" creationId="{2B632C0A-08CC-40BF-9299-7CAD4FC1AB73}"/>
          </ac:picMkLst>
        </pc:picChg>
        <pc:picChg chg="add mod">
          <ac:chgData name="Daphnée Rotenbach" userId="7408d6fd-eaeb-47da-89e0-711fd1361cf1" providerId="ADAL" clId="{E6A0457D-E37C-4445-8A05-392CF07B439F}" dt="2021-05-03T12:08:49.243" v="371" actId="1037"/>
          <ac:picMkLst>
            <pc:docMk/>
            <pc:sldMk cId="891851627" sldId="1522"/>
            <ac:picMk id="1028" creationId="{73C309CB-6C25-4B5D-92A9-61D6BD2DB642}"/>
          </ac:picMkLst>
        </pc:picChg>
        <pc:picChg chg="del">
          <ac:chgData name="Daphnée Rotenbach" userId="7408d6fd-eaeb-47da-89e0-711fd1361cf1" providerId="ADAL" clId="{E6A0457D-E37C-4445-8A05-392CF07B439F}" dt="2021-04-21T13:47:17.858" v="0" actId="478"/>
          <ac:picMkLst>
            <pc:docMk/>
            <pc:sldMk cId="891851627" sldId="1522"/>
            <ac:picMk id="1028" creationId="{C479D48A-0A30-420C-8220-DE53608714E3}"/>
          </ac:picMkLst>
        </pc:picChg>
      </pc:sldChg>
      <pc:sldChg chg="add del">
        <pc:chgData name="Daphnée Rotenbach" userId="7408d6fd-eaeb-47da-89e0-711fd1361cf1" providerId="ADAL" clId="{E6A0457D-E37C-4445-8A05-392CF07B439F}" dt="2021-05-03T11:58:58.856" v="265" actId="47"/>
        <pc:sldMkLst>
          <pc:docMk/>
          <pc:sldMk cId="2636110193" sldId="1524"/>
        </pc:sldMkLst>
      </pc:sldChg>
      <pc:sldChg chg="del">
        <pc:chgData name="Daphnée Rotenbach" userId="7408d6fd-eaeb-47da-89e0-711fd1361cf1" providerId="ADAL" clId="{E6A0457D-E37C-4445-8A05-392CF07B439F}" dt="2021-05-03T11:59:18.404" v="267" actId="47"/>
        <pc:sldMkLst>
          <pc:docMk/>
          <pc:sldMk cId="4063156804" sldId="1559"/>
        </pc:sldMkLst>
      </pc:sldChg>
      <pc:sldChg chg="modSp add del mod">
        <pc:chgData name="Daphnée Rotenbach" userId="7408d6fd-eaeb-47da-89e0-711fd1361cf1" providerId="ADAL" clId="{E6A0457D-E37C-4445-8A05-392CF07B439F}" dt="2021-05-03T15:13:03.257" v="1648" actId="1076"/>
        <pc:sldMkLst>
          <pc:docMk/>
          <pc:sldMk cId="2588671513" sldId="1584"/>
        </pc:sldMkLst>
        <pc:spChg chg="mod">
          <ac:chgData name="Daphnée Rotenbach" userId="7408d6fd-eaeb-47da-89e0-711fd1361cf1" providerId="ADAL" clId="{E6A0457D-E37C-4445-8A05-392CF07B439F}" dt="2021-05-03T13:16:58.888" v="975" actId="1036"/>
          <ac:spMkLst>
            <pc:docMk/>
            <pc:sldMk cId="2588671513" sldId="1584"/>
            <ac:spMk id="7" creationId="{5A78A952-374A-4D10-BAB5-BBABD1FD151B}"/>
          </ac:spMkLst>
        </pc:spChg>
        <pc:spChg chg="mod">
          <ac:chgData name="Daphnée Rotenbach" userId="7408d6fd-eaeb-47da-89e0-711fd1361cf1" providerId="ADAL" clId="{E6A0457D-E37C-4445-8A05-392CF07B439F}" dt="2021-05-03T13:16:46.417" v="971" actId="1076"/>
          <ac:spMkLst>
            <pc:docMk/>
            <pc:sldMk cId="2588671513" sldId="1584"/>
            <ac:spMk id="8" creationId="{6ACBD210-553B-4B2A-A355-3CB2CAAFCE74}"/>
          </ac:spMkLst>
        </pc:spChg>
        <pc:spChg chg="mod">
          <ac:chgData name="Daphnée Rotenbach" userId="7408d6fd-eaeb-47da-89e0-711fd1361cf1" providerId="ADAL" clId="{E6A0457D-E37C-4445-8A05-392CF07B439F}" dt="2021-05-03T13:17:14.174" v="983" actId="1076"/>
          <ac:spMkLst>
            <pc:docMk/>
            <pc:sldMk cId="2588671513" sldId="1584"/>
            <ac:spMk id="9" creationId="{4C7BA84F-AAA6-4843-BE03-8DC693444CF8}"/>
          </ac:spMkLst>
        </pc:spChg>
        <pc:spChg chg="mod">
          <ac:chgData name="Daphnée Rotenbach" userId="7408d6fd-eaeb-47da-89e0-711fd1361cf1" providerId="ADAL" clId="{E6A0457D-E37C-4445-8A05-392CF07B439F}" dt="2021-05-03T13:15:48.978" v="946" actId="403"/>
          <ac:spMkLst>
            <pc:docMk/>
            <pc:sldMk cId="2588671513" sldId="1584"/>
            <ac:spMk id="10" creationId="{9E5F688A-002F-42B2-9CD9-D7900C0B01DB}"/>
          </ac:spMkLst>
        </pc:spChg>
        <pc:spChg chg="mod">
          <ac:chgData name="Daphnée Rotenbach" userId="7408d6fd-eaeb-47da-89e0-711fd1361cf1" providerId="ADAL" clId="{E6A0457D-E37C-4445-8A05-392CF07B439F}" dt="2021-05-03T15:13:03.257" v="1648" actId="1076"/>
          <ac:spMkLst>
            <pc:docMk/>
            <pc:sldMk cId="2588671513" sldId="1584"/>
            <ac:spMk id="12" creationId="{D378D91B-ECB9-4FC7-BD30-5692DDF4B1CA}"/>
          </ac:spMkLst>
        </pc:spChg>
        <pc:picChg chg="mod">
          <ac:chgData name="Daphnée Rotenbach" userId="7408d6fd-eaeb-47da-89e0-711fd1361cf1" providerId="ADAL" clId="{E6A0457D-E37C-4445-8A05-392CF07B439F}" dt="2021-05-03T13:17:08.720" v="982" actId="1036"/>
          <ac:picMkLst>
            <pc:docMk/>
            <pc:sldMk cId="2588671513" sldId="1584"/>
            <ac:picMk id="3" creationId="{F86430F2-BF0C-4E90-B255-F4DDE6B3652E}"/>
          </ac:picMkLst>
        </pc:picChg>
        <pc:picChg chg="mod">
          <ac:chgData name="Daphnée Rotenbach" userId="7408d6fd-eaeb-47da-89e0-711fd1361cf1" providerId="ADAL" clId="{E6A0457D-E37C-4445-8A05-392CF07B439F}" dt="2021-05-03T13:17:08.720" v="982" actId="1036"/>
          <ac:picMkLst>
            <pc:docMk/>
            <pc:sldMk cId="2588671513" sldId="1584"/>
            <ac:picMk id="11" creationId="{1B9D2114-AD0E-4207-9CD4-BB316EDBC2D0}"/>
          </ac:picMkLst>
        </pc:picChg>
      </pc:sldChg>
      <pc:sldChg chg="addSp delSp modSp add del mod ord">
        <pc:chgData name="Daphnée Rotenbach" userId="7408d6fd-eaeb-47da-89e0-711fd1361cf1" providerId="ADAL" clId="{E6A0457D-E37C-4445-8A05-392CF07B439F}" dt="2021-05-03T13:32:51.828" v="1035" actId="1036"/>
        <pc:sldMkLst>
          <pc:docMk/>
          <pc:sldMk cId="3054946831" sldId="1585"/>
        </pc:sldMkLst>
        <pc:spChg chg="add mod">
          <ac:chgData name="Daphnée Rotenbach" userId="7408d6fd-eaeb-47da-89e0-711fd1361cf1" providerId="ADAL" clId="{E6A0457D-E37C-4445-8A05-392CF07B439F}" dt="2021-05-03T13:31:14.893" v="1012" actId="1035"/>
          <ac:spMkLst>
            <pc:docMk/>
            <pc:sldMk cId="3054946831" sldId="1585"/>
            <ac:spMk id="9" creationId="{056EE3B1-24B1-41BF-A362-F237660C7604}"/>
          </ac:spMkLst>
        </pc:spChg>
        <pc:spChg chg="mod">
          <ac:chgData name="Daphnée Rotenbach" userId="7408d6fd-eaeb-47da-89e0-711fd1361cf1" providerId="ADAL" clId="{E6A0457D-E37C-4445-8A05-392CF07B439F}" dt="2021-05-03T13:32:33.598" v="1027" actId="1037"/>
          <ac:spMkLst>
            <pc:docMk/>
            <pc:sldMk cId="3054946831" sldId="1585"/>
            <ac:spMk id="10" creationId="{FC0733BE-FD44-437C-B2DE-D3F86EBB81EE}"/>
          </ac:spMkLst>
        </pc:spChg>
        <pc:spChg chg="mod">
          <ac:chgData name="Daphnée Rotenbach" userId="7408d6fd-eaeb-47da-89e0-711fd1361cf1" providerId="ADAL" clId="{E6A0457D-E37C-4445-8A05-392CF07B439F}" dt="2021-05-03T13:32:51.828" v="1035" actId="1036"/>
          <ac:spMkLst>
            <pc:docMk/>
            <pc:sldMk cId="3054946831" sldId="1585"/>
            <ac:spMk id="11" creationId="{F8F8144E-C213-4B83-8BD7-41F492306758}"/>
          </ac:spMkLst>
        </pc:spChg>
        <pc:spChg chg="del mod">
          <ac:chgData name="Daphnée Rotenbach" userId="7408d6fd-eaeb-47da-89e0-711fd1361cf1" providerId="ADAL" clId="{E6A0457D-E37C-4445-8A05-392CF07B439F}" dt="2021-05-03T13:30:50.464" v="991" actId="478"/>
          <ac:spMkLst>
            <pc:docMk/>
            <pc:sldMk cId="3054946831" sldId="1585"/>
            <ac:spMk id="12" creationId="{1EAA0568-A4D4-4780-85BC-0E64278EC633}"/>
          </ac:spMkLst>
        </pc:spChg>
        <pc:spChg chg="del">
          <ac:chgData name="Daphnée Rotenbach" userId="7408d6fd-eaeb-47da-89e0-711fd1361cf1" providerId="ADAL" clId="{E6A0457D-E37C-4445-8A05-392CF07B439F}" dt="2021-05-03T13:30:20.589" v="984" actId="478"/>
          <ac:spMkLst>
            <pc:docMk/>
            <pc:sldMk cId="3054946831" sldId="1585"/>
            <ac:spMk id="13" creationId="{5A49B9BF-61BB-4732-8A6B-1A1238D014EC}"/>
          </ac:spMkLst>
        </pc:spChg>
        <pc:spChg chg="add mod">
          <ac:chgData name="Daphnée Rotenbach" userId="7408d6fd-eaeb-47da-89e0-711fd1361cf1" providerId="ADAL" clId="{E6A0457D-E37C-4445-8A05-392CF07B439F}" dt="2021-05-03T13:31:08.048" v="1007" actId="1035"/>
          <ac:spMkLst>
            <pc:docMk/>
            <pc:sldMk cId="3054946831" sldId="1585"/>
            <ac:spMk id="14" creationId="{BB4F8EBB-211C-41C1-9184-EDD3DC24FFF9}"/>
          </ac:spMkLst>
        </pc:spChg>
      </pc:sldChg>
      <pc:sldChg chg="modSp add del mod">
        <pc:chgData name="Daphnée Rotenbach" userId="7408d6fd-eaeb-47da-89e0-711fd1361cf1" providerId="ADAL" clId="{E6A0457D-E37C-4445-8A05-392CF07B439F}" dt="2021-05-03T13:33:34.835" v="1044" actId="1038"/>
        <pc:sldMkLst>
          <pc:docMk/>
          <pc:sldMk cId="4208645724" sldId="1586"/>
        </pc:sldMkLst>
        <pc:spChg chg="mod">
          <ac:chgData name="Daphnée Rotenbach" userId="7408d6fd-eaeb-47da-89e0-711fd1361cf1" providerId="ADAL" clId="{E6A0457D-E37C-4445-8A05-392CF07B439F}" dt="2021-05-03T13:33:18.207" v="1040" actId="1076"/>
          <ac:spMkLst>
            <pc:docMk/>
            <pc:sldMk cId="4208645724" sldId="1586"/>
            <ac:spMk id="12" creationId="{AA2EF4DA-3A44-42C7-8365-1F4C5353EA17}"/>
          </ac:spMkLst>
        </pc:spChg>
        <pc:picChg chg="mod">
          <ac:chgData name="Daphnée Rotenbach" userId="7408d6fd-eaeb-47da-89e0-711fd1361cf1" providerId="ADAL" clId="{E6A0457D-E37C-4445-8A05-392CF07B439F}" dt="2021-05-03T13:33:34.835" v="1044" actId="1038"/>
          <ac:picMkLst>
            <pc:docMk/>
            <pc:sldMk cId="4208645724" sldId="1586"/>
            <ac:picMk id="17" creationId="{E1507A45-963F-4D5C-A77C-C0DBD49C28C1}"/>
          </ac:picMkLst>
        </pc:picChg>
      </pc:sldChg>
      <pc:sldChg chg="modSp add del mod">
        <pc:chgData name="Daphnée Rotenbach" userId="7408d6fd-eaeb-47da-89e0-711fd1361cf1" providerId="ADAL" clId="{E6A0457D-E37C-4445-8A05-392CF07B439F}" dt="2021-05-03T13:35:31.017" v="1130" actId="14100"/>
        <pc:sldMkLst>
          <pc:docMk/>
          <pc:sldMk cId="2200268460" sldId="1587"/>
        </pc:sldMkLst>
        <pc:spChg chg="mod">
          <ac:chgData name="Daphnée Rotenbach" userId="7408d6fd-eaeb-47da-89e0-711fd1361cf1" providerId="ADAL" clId="{E6A0457D-E37C-4445-8A05-392CF07B439F}" dt="2021-05-03T13:34:44.440" v="1060" actId="1036"/>
          <ac:spMkLst>
            <pc:docMk/>
            <pc:sldMk cId="2200268460" sldId="1587"/>
            <ac:spMk id="10" creationId="{65CFF2A9-044D-4689-8F74-8ED62E53BF06}"/>
          </ac:spMkLst>
        </pc:spChg>
        <pc:spChg chg="mod">
          <ac:chgData name="Daphnée Rotenbach" userId="7408d6fd-eaeb-47da-89e0-711fd1361cf1" providerId="ADAL" clId="{E6A0457D-E37C-4445-8A05-392CF07B439F}" dt="2021-05-03T13:35:31.017" v="1130" actId="14100"/>
          <ac:spMkLst>
            <pc:docMk/>
            <pc:sldMk cId="2200268460" sldId="1587"/>
            <ac:spMk id="12" creationId="{0E321AE4-9149-44C4-9CEB-F83BFDAFEB7D}"/>
          </ac:spMkLst>
        </pc:spChg>
        <pc:spChg chg="mod">
          <ac:chgData name="Daphnée Rotenbach" userId="7408d6fd-eaeb-47da-89e0-711fd1361cf1" providerId="ADAL" clId="{E6A0457D-E37C-4445-8A05-392CF07B439F}" dt="2021-05-03T13:34:33.192" v="1055" actId="403"/>
          <ac:spMkLst>
            <pc:docMk/>
            <pc:sldMk cId="2200268460" sldId="1587"/>
            <ac:spMk id="16" creationId="{7A10A909-28CE-448C-964E-47B3679B472D}"/>
          </ac:spMkLst>
        </pc:spChg>
        <pc:spChg chg="mod">
          <ac:chgData name="Daphnée Rotenbach" userId="7408d6fd-eaeb-47da-89e0-711fd1361cf1" providerId="ADAL" clId="{E6A0457D-E37C-4445-8A05-392CF07B439F}" dt="2021-05-03T13:34:29.696" v="1054" actId="403"/>
          <ac:spMkLst>
            <pc:docMk/>
            <pc:sldMk cId="2200268460" sldId="1587"/>
            <ac:spMk id="31" creationId="{35190EB1-EA44-4957-A2EA-05C67B12A5EC}"/>
          </ac:spMkLst>
        </pc:spChg>
        <pc:picChg chg="mod">
          <ac:chgData name="Daphnée Rotenbach" userId="7408d6fd-eaeb-47da-89e0-711fd1361cf1" providerId="ADAL" clId="{E6A0457D-E37C-4445-8A05-392CF07B439F}" dt="2021-05-03T13:35:24.109" v="1128" actId="1037"/>
          <ac:picMkLst>
            <pc:docMk/>
            <pc:sldMk cId="2200268460" sldId="1587"/>
            <ac:picMk id="15" creationId="{C47D564C-33A3-405D-8832-13AF28725B13}"/>
          </ac:picMkLst>
        </pc:picChg>
      </pc:sldChg>
      <pc:sldChg chg="modSp mod">
        <pc:chgData name="Daphnée Rotenbach" userId="7408d6fd-eaeb-47da-89e0-711fd1361cf1" providerId="ADAL" clId="{E6A0457D-E37C-4445-8A05-392CF07B439F}" dt="2021-05-03T14:06:52.792" v="1208" actId="1076"/>
        <pc:sldMkLst>
          <pc:docMk/>
          <pc:sldMk cId="1320698456" sldId="1590"/>
        </pc:sldMkLst>
        <pc:spChg chg="mod">
          <ac:chgData name="Daphnée Rotenbach" userId="7408d6fd-eaeb-47da-89e0-711fd1361cf1" providerId="ADAL" clId="{E6A0457D-E37C-4445-8A05-392CF07B439F}" dt="2021-05-03T14:06:52.792" v="1208" actId="1076"/>
          <ac:spMkLst>
            <pc:docMk/>
            <pc:sldMk cId="1320698456" sldId="1590"/>
            <ac:spMk id="8" creationId="{104CB144-5DD3-43CE-B8A0-9676BBED4B39}"/>
          </ac:spMkLst>
        </pc:spChg>
      </pc:sldChg>
      <pc:sldChg chg="addSp delSp modSp mod">
        <pc:chgData name="Daphnée Rotenbach" userId="7408d6fd-eaeb-47da-89e0-711fd1361cf1" providerId="ADAL" clId="{E6A0457D-E37C-4445-8A05-392CF07B439F}" dt="2021-05-03T12:52:13.991" v="781" actId="1038"/>
        <pc:sldMkLst>
          <pc:docMk/>
          <pc:sldMk cId="2188961370" sldId="1592"/>
        </pc:sldMkLst>
        <pc:spChg chg="add del">
          <ac:chgData name="Daphnée Rotenbach" userId="7408d6fd-eaeb-47da-89e0-711fd1361cf1" providerId="ADAL" clId="{E6A0457D-E37C-4445-8A05-392CF07B439F}" dt="2021-05-03T12:48:44.378" v="740"/>
          <ac:spMkLst>
            <pc:docMk/>
            <pc:sldMk cId="2188961370" sldId="1592"/>
            <ac:spMk id="2" creationId="{51F94B77-9379-49DD-A630-458E5EBF9E05}"/>
          </ac:spMkLst>
        </pc:spChg>
        <pc:spChg chg="mod">
          <ac:chgData name="Daphnée Rotenbach" userId="7408d6fd-eaeb-47da-89e0-711fd1361cf1" providerId="ADAL" clId="{E6A0457D-E37C-4445-8A05-392CF07B439F}" dt="2021-05-03T12:50:23.821" v="762" actId="20577"/>
          <ac:spMkLst>
            <pc:docMk/>
            <pc:sldMk cId="2188961370" sldId="1592"/>
            <ac:spMk id="8" creationId="{104CB144-5DD3-43CE-B8A0-9676BBED4B39}"/>
          </ac:spMkLst>
        </pc:spChg>
        <pc:spChg chg="mod">
          <ac:chgData name="Daphnée Rotenbach" userId="7408d6fd-eaeb-47da-89e0-711fd1361cf1" providerId="ADAL" clId="{E6A0457D-E37C-4445-8A05-392CF07B439F}" dt="2021-05-03T12:52:13.991" v="781" actId="1038"/>
          <ac:spMkLst>
            <pc:docMk/>
            <pc:sldMk cId="2188961370" sldId="1592"/>
            <ac:spMk id="13" creationId="{F7EA6E66-D401-4A1A-BB1E-D1EE3D23B4BF}"/>
          </ac:spMkLst>
        </pc:spChg>
        <pc:spChg chg="mod">
          <ac:chgData name="Daphnée Rotenbach" userId="7408d6fd-eaeb-47da-89e0-711fd1361cf1" providerId="ADAL" clId="{E6A0457D-E37C-4445-8A05-392CF07B439F}" dt="2021-05-03T12:51:25.251" v="770" actId="20577"/>
          <ac:spMkLst>
            <pc:docMk/>
            <pc:sldMk cId="2188961370" sldId="1592"/>
            <ac:spMk id="14" creationId="{ABCAD4BE-96B8-4ED0-960E-E3F4510A80D8}"/>
          </ac:spMkLst>
        </pc:spChg>
        <pc:spChg chg="mod">
          <ac:chgData name="Daphnée Rotenbach" userId="7408d6fd-eaeb-47da-89e0-711fd1361cf1" providerId="ADAL" clId="{E6A0457D-E37C-4445-8A05-392CF07B439F}" dt="2021-05-03T12:51:11.477" v="767"/>
          <ac:spMkLst>
            <pc:docMk/>
            <pc:sldMk cId="2188961370" sldId="1592"/>
            <ac:spMk id="15" creationId="{76AF5837-2945-4164-9E93-F6466AB34476}"/>
          </ac:spMkLst>
        </pc:spChg>
        <pc:spChg chg="mod">
          <ac:chgData name="Daphnée Rotenbach" userId="7408d6fd-eaeb-47da-89e0-711fd1361cf1" providerId="ADAL" clId="{E6A0457D-E37C-4445-8A05-392CF07B439F}" dt="2021-05-03T12:49:05.449" v="748"/>
          <ac:spMkLst>
            <pc:docMk/>
            <pc:sldMk cId="2188961370" sldId="1592"/>
            <ac:spMk id="16" creationId="{FA2AAE23-52A8-47BC-A9B8-29B67195DDC9}"/>
          </ac:spMkLst>
        </pc:spChg>
        <pc:spChg chg="mod">
          <ac:chgData name="Daphnée Rotenbach" userId="7408d6fd-eaeb-47da-89e0-711fd1361cf1" providerId="ADAL" clId="{E6A0457D-E37C-4445-8A05-392CF07B439F}" dt="2021-05-03T12:51:38.867" v="772"/>
          <ac:spMkLst>
            <pc:docMk/>
            <pc:sldMk cId="2188961370" sldId="1592"/>
            <ac:spMk id="17" creationId="{78160450-2AC9-42BB-9395-77AAB1438493}"/>
          </ac:spMkLst>
        </pc:spChg>
        <pc:spChg chg="mod">
          <ac:chgData name="Daphnée Rotenbach" userId="7408d6fd-eaeb-47da-89e0-711fd1361cf1" providerId="ADAL" clId="{E6A0457D-E37C-4445-8A05-392CF07B439F}" dt="2021-05-03T12:48:53.250" v="742"/>
          <ac:spMkLst>
            <pc:docMk/>
            <pc:sldMk cId="2188961370" sldId="1592"/>
            <ac:spMk id="18" creationId="{2F57276D-B5EE-4B3E-BFEC-DEC0772B8BAC}"/>
          </ac:spMkLst>
        </pc:spChg>
      </pc:sldChg>
      <pc:sldChg chg="modSp mod">
        <pc:chgData name="Daphnée Rotenbach" userId="7408d6fd-eaeb-47da-89e0-711fd1361cf1" providerId="ADAL" clId="{E6A0457D-E37C-4445-8A05-392CF07B439F}" dt="2021-05-03T14:03:48.568" v="1193"/>
        <pc:sldMkLst>
          <pc:docMk/>
          <pc:sldMk cId="764671708" sldId="1596"/>
        </pc:sldMkLst>
        <pc:spChg chg="mod">
          <ac:chgData name="Daphnée Rotenbach" userId="7408d6fd-eaeb-47da-89e0-711fd1361cf1" providerId="ADAL" clId="{E6A0457D-E37C-4445-8A05-392CF07B439F}" dt="2021-05-03T14:03:48.568" v="1193"/>
          <ac:spMkLst>
            <pc:docMk/>
            <pc:sldMk cId="764671708" sldId="1596"/>
            <ac:spMk id="8" creationId="{104CB144-5DD3-43CE-B8A0-9676BBED4B39}"/>
          </ac:spMkLst>
        </pc:spChg>
      </pc:sldChg>
      <pc:sldChg chg="modSp mod">
        <pc:chgData name="Daphnée Rotenbach" userId="7408d6fd-eaeb-47da-89e0-711fd1361cf1" providerId="ADAL" clId="{E6A0457D-E37C-4445-8A05-392CF07B439F}" dt="2021-05-03T13:05:34.055" v="945" actId="20577"/>
        <pc:sldMkLst>
          <pc:docMk/>
          <pc:sldMk cId="3356752278" sldId="1599"/>
        </pc:sldMkLst>
        <pc:spChg chg="mod">
          <ac:chgData name="Daphnée Rotenbach" userId="7408d6fd-eaeb-47da-89e0-711fd1361cf1" providerId="ADAL" clId="{E6A0457D-E37C-4445-8A05-392CF07B439F}" dt="2021-05-03T13:05:34.055" v="945" actId="20577"/>
          <ac:spMkLst>
            <pc:docMk/>
            <pc:sldMk cId="3356752278" sldId="1599"/>
            <ac:spMk id="4" creationId="{8A88A47E-A267-404A-9B1D-04E26DBAFF07}"/>
          </ac:spMkLst>
        </pc:spChg>
      </pc:sldChg>
      <pc:sldChg chg="del">
        <pc:chgData name="Daphnée Rotenbach" userId="7408d6fd-eaeb-47da-89e0-711fd1361cf1" providerId="ADAL" clId="{E6A0457D-E37C-4445-8A05-392CF07B439F}" dt="2021-04-21T14:20:39.635" v="247" actId="47"/>
        <pc:sldMkLst>
          <pc:docMk/>
          <pc:sldMk cId="198236115" sldId="1605"/>
        </pc:sldMkLst>
      </pc:sldChg>
      <pc:sldChg chg="del">
        <pc:chgData name="Daphnée Rotenbach" userId="7408d6fd-eaeb-47da-89e0-711fd1361cf1" providerId="ADAL" clId="{E6A0457D-E37C-4445-8A05-392CF07B439F}" dt="2021-05-03T11:59:18.833" v="268" actId="47"/>
        <pc:sldMkLst>
          <pc:docMk/>
          <pc:sldMk cId="2128847112" sldId="1612"/>
        </pc:sldMkLst>
      </pc:sldChg>
      <pc:sldChg chg="del">
        <pc:chgData name="Daphnée Rotenbach" userId="7408d6fd-eaeb-47da-89e0-711fd1361cf1" providerId="ADAL" clId="{E6A0457D-E37C-4445-8A05-392CF07B439F}" dt="2021-04-21T14:17:45.433" v="243" actId="47"/>
        <pc:sldMkLst>
          <pc:docMk/>
          <pc:sldMk cId="2328982635" sldId="1613"/>
        </pc:sldMkLst>
      </pc:sldChg>
      <pc:sldChg chg="del">
        <pc:chgData name="Daphnée Rotenbach" userId="7408d6fd-eaeb-47da-89e0-711fd1361cf1" providerId="ADAL" clId="{E6A0457D-E37C-4445-8A05-392CF07B439F}" dt="2021-04-21T14:20:25.918" v="246" actId="47"/>
        <pc:sldMkLst>
          <pc:docMk/>
          <pc:sldMk cId="3568336975" sldId="1616"/>
        </pc:sldMkLst>
      </pc:sldChg>
      <pc:sldChg chg="del">
        <pc:chgData name="Daphnée Rotenbach" userId="7408d6fd-eaeb-47da-89e0-711fd1361cf1" providerId="ADAL" clId="{E6A0457D-E37C-4445-8A05-392CF07B439F}" dt="2021-04-21T14:20:43.052" v="248" actId="47"/>
        <pc:sldMkLst>
          <pc:docMk/>
          <pc:sldMk cId="173415771" sldId="1618"/>
        </pc:sldMkLst>
      </pc:sldChg>
      <pc:sldChg chg="modSp del mod">
        <pc:chgData name="Daphnée Rotenbach" userId="7408d6fd-eaeb-47da-89e0-711fd1361cf1" providerId="ADAL" clId="{E6A0457D-E37C-4445-8A05-392CF07B439F}" dt="2021-05-03T14:26:19.485" v="1319" actId="47"/>
        <pc:sldMkLst>
          <pc:docMk/>
          <pc:sldMk cId="2285044460" sldId="1619"/>
        </pc:sldMkLst>
        <pc:spChg chg="mod">
          <ac:chgData name="Daphnée Rotenbach" userId="7408d6fd-eaeb-47da-89e0-711fd1361cf1" providerId="ADAL" clId="{E6A0457D-E37C-4445-8A05-392CF07B439F}" dt="2021-05-03T14:03:50.620" v="1195"/>
          <ac:spMkLst>
            <pc:docMk/>
            <pc:sldMk cId="2285044460" sldId="1619"/>
            <ac:spMk id="3" creationId="{E019E473-1212-471F-B12A-F9B7D610AFC6}"/>
          </ac:spMkLst>
        </pc:spChg>
        <pc:graphicFrameChg chg="mod">
          <ac:chgData name="Daphnée Rotenbach" userId="7408d6fd-eaeb-47da-89e0-711fd1361cf1" providerId="ADAL" clId="{E6A0457D-E37C-4445-8A05-392CF07B439F}" dt="2021-05-03T13:46:36.285" v="1189" actId="20577"/>
          <ac:graphicFrameMkLst>
            <pc:docMk/>
            <pc:sldMk cId="2285044460" sldId="1619"/>
            <ac:graphicFrameMk id="7" creationId="{C775386E-F1E6-407F-9093-5F5039291173}"/>
          </ac:graphicFrameMkLst>
        </pc:graphicFrameChg>
      </pc:sldChg>
      <pc:sldChg chg="add del">
        <pc:chgData name="Daphnée Rotenbach" userId="7408d6fd-eaeb-47da-89e0-711fd1361cf1" providerId="ADAL" clId="{E6A0457D-E37C-4445-8A05-392CF07B439F}" dt="2021-04-21T14:16:20.523" v="242" actId="47"/>
        <pc:sldMkLst>
          <pc:docMk/>
          <pc:sldMk cId="544977158" sldId="1620"/>
        </pc:sldMkLst>
      </pc:sldChg>
      <pc:sldChg chg="modSp new del mod">
        <pc:chgData name="Daphnée Rotenbach" userId="7408d6fd-eaeb-47da-89e0-711fd1361cf1" providerId="ADAL" clId="{E6A0457D-E37C-4445-8A05-392CF07B439F}" dt="2021-04-21T14:13:03.480" v="112" actId="47"/>
        <pc:sldMkLst>
          <pc:docMk/>
          <pc:sldMk cId="2875000730" sldId="1621"/>
        </pc:sldMkLst>
        <pc:spChg chg="mod">
          <ac:chgData name="Daphnée Rotenbach" userId="7408d6fd-eaeb-47da-89e0-711fd1361cf1" providerId="ADAL" clId="{E6A0457D-E37C-4445-8A05-392CF07B439F}" dt="2021-04-21T14:12:28.762" v="105" actId="20577"/>
          <ac:spMkLst>
            <pc:docMk/>
            <pc:sldMk cId="2875000730" sldId="1621"/>
            <ac:spMk id="2" creationId="{59E94F17-8C1A-47E5-AA4D-CD66C2B5446B}"/>
          </ac:spMkLst>
        </pc:spChg>
      </pc:sldChg>
      <pc:sldChg chg="addSp delSp modSp add mod">
        <pc:chgData name="Daphnée Rotenbach" userId="7408d6fd-eaeb-47da-89e0-711fd1361cf1" providerId="ADAL" clId="{E6A0457D-E37C-4445-8A05-392CF07B439F}" dt="2021-05-05T09:35:46.822" v="1767" actId="1076"/>
        <pc:sldMkLst>
          <pc:docMk/>
          <pc:sldMk cId="3889016360" sldId="1622"/>
        </pc:sldMkLst>
        <pc:spChg chg="del">
          <ac:chgData name="Daphnée Rotenbach" userId="7408d6fd-eaeb-47da-89e0-711fd1361cf1" providerId="ADAL" clId="{E6A0457D-E37C-4445-8A05-392CF07B439F}" dt="2021-04-21T14:12:41.369" v="107" actId="478"/>
          <ac:spMkLst>
            <pc:docMk/>
            <pc:sldMk cId="3889016360" sldId="1622"/>
            <ac:spMk id="2" creationId="{26325284-20C8-4D21-9864-250826F6DF98}"/>
          </ac:spMkLst>
        </pc:spChg>
        <pc:spChg chg="add mod">
          <ac:chgData name="Daphnée Rotenbach" userId="7408d6fd-eaeb-47da-89e0-711fd1361cf1" providerId="ADAL" clId="{E6A0457D-E37C-4445-8A05-392CF07B439F}" dt="2021-05-05T09:35:46.822" v="1767" actId="1076"/>
          <ac:spMkLst>
            <pc:docMk/>
            <pc:sldMk cId="3889016360" sldId="1622"/>
            <ac:spMk id="13" creationId="{B3E3AB18-EB48-4D14-B4A5-CBB2233A8639}"/>
          </ac:spMkLst>
        </pc:spChg>
        <pc:spChg chg="add mod">
          <ac:chgData name="Daphnée Rotenbach" userId="7408d6fd-eaeb-47da-89e0-711fd1361cf1" providerId="ADAL" clId="{E6A0457D-E37C-4445-8A05-392CF07B439F}" dt="2021-05-05T09:35:45.140" v="1766" actId="1076"/>
          <ac:spMkLst>
            <pc:docMk/>
            <pc:sldMk cId="3889016360" sldId="1622"/>
            <ac:spMk id="19" creationId="{8D38F8B2-EE6B-4200-9264-8DDEF7C184E8}"/>
          </ac:spMkLst>
        </pc:spChg>
        <pc:spChg chg="add mod">
          <ac:chgData name="Daphnée Rotenbach" userId="7408d6fd-eaeb-47da-89e0-711fd1361cf1" providerId="ADAL" clId="{E6A0457D-E37C-4445-8A05-392CF07B439F}" dt="2021-05-05T09:35:45.140" v="1766" actId="1076"/>
          <ac:spMkLst>
            <pc:docMk/>
            <pc:sldMk cId="3889016360" sldId="1622"/>
            <ac:spMk id="20" creationId="{072F9CC1-673F-4201-B122-9A27927D4333}"/>
          </ac:spMkLst>
        </pc:spChg>
        <pc:spChg chg="del">
          <ac:chgData name="Daphnée Rotenbach" userId="7408d6fd-eaeb-47da-89e0-711fd1361cf1" providerId="ADAL" clId="{E6A0457D-E37C-4445-8A05-392CF07B439F}" dt="2021-04-21T14:12:43.536" v="108" actId="478"/>
          <ac:spMkLst>
            <pc:docMk/>
            <pc:sldMk cId="3889016360" sldId="1622"/>
            <ac:spMk id="40" creationId="{06BAF9CB-54CD-41E8-B56C-C83A8FC42E40}"/>
          </ac:spMkLst>
        </pc:spChg>
        <pc:graphicFrameChg chg="add mod">
          <ac:chgData name="Daphnée Rotenbach" userId="7408d6fd-eaeb-47da-89e0-711fd1361cf1" providerId="ADAL" clId="{E6A0457D-E37C-4445-8A05-392CF07B439F}" dt="2021-05-05T09:35:45.140" v="1766" actId="1076"/>
          <ac:graphicFrameMkLst>
            <pc:docMk/>
            <pc:sldMk cId="3889016360" sldId="1622"/>
            <ac:graphicFrameMk id="14" creationId="{69D72ECC-A97E-4460-AFF8-87A5BDF4D9FC}"/>
          </ac:graphicFrameMkLst>
        </pc:graphicFrameChg>
        <pc:picChg chg="add mod">
          <ac:chgData name="Daphnée Rotenbach" userId="7408d6fd-eaeb-47da-89e0-711fd1361cf1" providerId="ADAL" clId="{E6A0457D-E37C-4445-8A05-392CF07B439F}" dt="2021-05-05T09:35:45.140" v="1766" actId="1076"/>
          <ac:picMkLst>
            <pc:docMk/>
            <pc:sldMk cId="3889016360" sldId="1622"/>
            <ac:picMk id="16" creationId="{EC36C073-27C5-4A03-B734-4359CCE2C616}"/>
          </ac:picMkLst>
        </pc:picChg>
        <pc:picChg chg="add mod">
          <ac:chgData name="Daphnée Rotenbach" userId="7408d6fd-eaeb-47da-89e0-711fd1361cf1" providerId="ADAL" clId="{E6A0457D-E37C-4445-8A05-392CF07B439F}" dt="2021-05-05T09:35:45.140" v="1766" actId="1076"/>
          <ac:picMkLst>
            <pc:docMk/>
            <pc:sldMk cId="3889016360" sldId="1622"/>
            <ac:picMk id="17" creationId="{7D1E2E2D-CBFC-4675-AC7D-0A3D93AEF33E}"/>
          </ac:picMkLst>
        </pc:picChg>
        <pc:picChg chg="add mod">
          <ac:chgData name="Daphnée Rotenbach" userId="7408d6fd-eaeb-47da-89e0-711fd1361cf1" providerId="ADAL" clId="{E6A0457D-E37C-4445-8A05-392CF07B439F}" dt="2021-05-05T09:35:45.140" v="1766" actId="1076"/>
          <ac:picMkLst>
            <pc:docMk/>
            <pc:sldMk cId="3889016360" sldId="1622"/>
            <ac:picMk id="18" creationId="{E18BA1C8-4E43-4F99-9AC9-0EEBE50208AE}"/>
          </ac:picMkLst>
        </pc:picChg>
      </pc:sldChg>
      <pc:sldChg chg="new del">
        <pc:chgData name="Daphnée Rotenbach" userId="7408d6fd-eaeb-47da-89e0-711fd1361cf1" providerId="ADAL" clId="{E6A0457D-E37C-4445-8A05-392CF07B439F}" dt="2021-04-21T14:15:20.868" v="169" actId="47"/>
        <pc:sldMkLst>
          <pc:docMk/>
          <pc:sldMk cId="830609432" sldId="1623"/>
        </pc:sldMkLst>
      </pc:sldChg>
      <pc:sldChg chg="new del">
        <pc:chgData name="Daphnée Rotenbach" userId="7408d6fd-eaeb-47da-89e0-711fd1361cf1" providerId="ADAL" clId="{E6A0457D-E37C-4445-8A05-392CF07B439F}" dt="2021-04-21T14:22:06.259" v="261" actId="47"/>
        <pc:sldMkLst>
          <pc:docMk/>
          <pc:sldMk cId="1172264793" sldId="1623"/>
        </pc:sldMkLst>
      </pc:sldChg>
      <pc:sldChg chg="modSp add mod">
        <pc:chgData name="Daphnée Rotenbach" userId="7408d6fd-eaeb-47da-89e0-711fd1361cf1" providerId="ADAL" clId="{E6A0457D-E37C-4445-8A05-392CF07B439F}" dt="2021-05-03T12:54:56.187" v="798" actId="1440"/>
        <pc:sldMkLst>
          <pc:docMk/>
          <pc:sldMk cId="2117334877" sldId="1623"/>
        </pc:sldMkLst>
        <pc:spChg chg="mod">
          <ac:chgData name="Daphnée Rotenbach" userId="7408d6fd-eaeb-47da-89e0-711fd1361cf1" providerId="ADAL" clId="{E6A0457D-E37C-4445-8A05-392CF07B439F}" dt="2021-05-03T12:54:42.057" v="797" actId="14100"/>
          <ac:spMkLst>
            <pc:docMk/>
            <pc:sldMk cId="2117334877" sldId="1623"/>
            <ac:spMk id="15" creationId="{87244BDE-9DEC-4640-B15E-0D9835EE4E5E}"/>
          </ac:spMkLst>
        </pc:spChg>
        <pc:spChg chg="mod">
          <ac:chgData name="Daphnée Rotenbach" userId="7408d6fd-eaeb-47da-89e0-711fd1361cf1" providerId="ADAL" clId="{E6A0457D-E37C-4445-8A05-392CF07B439F}" dt="2021-05-03T12:54:04.330" v="794" actId="14100"/>
          <ac:spMkLst>
            <pc:docMk/>
            <pc:sldMk cId="2117334877" sldId="1623"/>
            <ac:spMk id="16" creationId="{551E501E-5C3C-4B2B-8303-34D0CE78877F}"/>
          </ac:spMkLst>
        </pc:spChg>
        <pc:spChg chg="mod">
          <ac:chgData name="Daphnée Rotenbach" userId="7408d6fd-eaeb-47da-89e0-711fd1361cf1" providerId="ADAL" clId="{E6A0457D-E37C-4445-8A05-392CF07B439F}" dt="2021-05-03T12:53:50.311" v="791" actId="6549"/>
          <ac:spMkLst>
            <pc:docMk/>
            <pc:sldMk cId="2117334877" sldId="1623"/>
            <ac:spMk id="18" creationId="{8990A6C8-720D-4A88-9E95-0EB7A42C10C3}"/>
          </ac:spMkLst>
        </pc:spChg>
        <pc:picChg chg="mod">
          <ac:chgData name="Daphnée Rotenbach" userId="7408d6fd-eaeb-47da-89e0-711fd1361cf1" providerId="ADAL" clId="{E6A0457D-E37C-4445-8A05-392CF07B439F}" dt="2021-05-03T12:54:56.187" v="798" actId="1440"/>
          <ac:picMkLst>
            <pc:docMk/>
            <pc:sldMk cId="2117334877" sldId="1623"/>
            <ac:picMk id="37" creationId="{6D618919-7DC4-4A56-A0A0-695BD90243AA}"/>
          </ac:picMkLst>
        </pc:picChg>
        <pc:picChg chg="mod">
          <ac:chgData name="Daphnée Rotenbach" userId="7408d6fd-eaeb-47da-89e0-711fd1361cf1" providerId="ADAL" clId="{E6A0457D-E37C-4445-8A05-392CF07B439F}" dt="2021-05-03T12:54:56.187" v="798" actId="1440"/>
          <ac:picMkLst>
            <pc:docMk/>
            <pc:sldMk cId="2117334877" sldId="1623"/>
            <ac:picMk id="38" creationId="{7A5301FC-917C-4F0A-9E3C-2EAF8AB9208C}"/>
          </ac:picMkLst>
        </pc:picChg>
        <pc:picChg chg="mod">
          <ac:chgData name="Daphnée Rotenbach" userId="7408d6fd-eaeb-47da-89e0-711fd1361cf1" providerId="ADAL" clId="{E6A0457D-E37C-4445-8A05-392CF07B439F}" dt="2021-05-03T12:54:56.187" v="798" actId="1440"/>
          <ac:picMkLst>
            <pc:docMk/>
            <pc:sldMk cId="2117334877" sldId="1623"/>
            <ac:picMk id="40" creationId="{2512A327-D356-4D57-8ED3-5D5CB536D770}"/>
          </ac:picMkLst>
        </pc:picChg>
        <pc:picChg chg="mod">
          <ac:chgData name="Daphnée Rotenbach" userId="7408d6fd-eaeb-47da-89e0-711fd1361cf1" providerId="ADAL" clId="{E6A0457D-E37C-4445-8A05-392CF07B439F}" dt="2021-05-03T12:54:56.187" v="798" actId="1440"/>
          <ac:picMkLst>
            <pc:docMk/>
            <pc:sldMk cId="2117334877" sldId="1623"/>
            <ac:picMk id="42" creationId="{0623F0C2-5898-45B8-8B35-CCE9D671657B}"/>
          </ac:picMkLst>
        </pc:picChg>
      </pc:sldChg>
      <pc:sldChg chg="modSp new del mod">
        <pc:chgData name="Daphnée Rotenbach" userId="7408d6fd-eaeb-47da-89e0-711fd1361cf1" providerId="ADAL" clId="{E6A0457D-E37C-4445-8A05-392CF07B439F}" dt="2021-04-21T14:14:15.525" v="167" actId="47"/>
        <pc:sldMkLst>
          <pc:docMk/>
          <pc:sldMk cId="4019698108" sldId="1623"/>
        </pc:sldMkLst>
        <pc:spChg chg="mod">
          <ac:chgData name="Daphnée Rotenbach" userId="7408d6fd-eaeb-47da-89e0-711fd1361cf1" providerId="ADAL" clId="{E6A0457D-E37C-4445-8A05-392CF07B439F}" dt="2021-04-21T14:13:43.294" v="166" actId="20577"/>
          <ac:spMkLst>
            <pc:docMk/>
            <pc:sldMk cId="4019698108" sldId="1623"/>
            <ac:spMk id="2" creationId="{9BF42D56-DB44-4186-9CDA-15A0353DEE19}"/>
          </ac:spMkLst>
        </pc:spChg>
      </pc:sldChg>
      <pc:sldChg chg="delSp add mod">
        <pc:chgData name="Daphnée Rotenbach" userId="7408d6fd-eaeb-47da-89e0-711fd1361cf1" providerId="ADAL" clId="{E6A0457D-E37C-4445-8A05-392CF07B439F}" dt="2021-05-03T12:55:33.158" v="799" actId="478"/>
        <pc:sldMkLst>
          <pc:docMk/>
          <pc:sldMk cId="697204306" sldId="1624"/>
        </pc:sldMkLst>
        <pc:spChg chg="del">
          <ac:chgData name="Daphnée Rotenbach" userId="7408d6fd-eaeb-47da-89e0-711fd1361cf1" providerId="ADAL" clId="{E6A0457D-E37C-4445-8A05-392CF07B439F}" dt="2021-05-03T12:55:33.158" v="799" actId="478"/>
          <ac:spMkLst>
            <pc:docMk/>
            <pc:sldMk cId="697204306" sldId="1624"/>
            <ac:spMk id="15" creationId="{5234D221-EA88-492A-92F3-5DC56E255550}"/>
          </ac:spMkLst>
        </pc:spChg>
      </pc:sldChg>
      <pc:sldChg chg="addSp delSp modSp add mod">
        <pc:chgData name="Daphnée Rotenbach" userId="7408d6fd-eaeb-47da-89e0-711fd1361cf1" providerId="ADAL" clId="{E6A0457D-E37C-4445-8A05-392CF07B439F}" dt="2021-05-03T15:12:55.187" v="1647"/>
        <pc:sldMkLst>
          <pc:docMk/>
          <pc:sldMk cId="2521456746" sldId="1625"/>
        </pc:sldMkLst>
        <pc:spChg chg="mod">
          <ac:chgData name="Daphnée Rotenbach" userId="7408d6fd-eaeb-47da-89e0-711fd1361cf1" providerId="ADAL" clId="{E6A0457D-E37C-4445-8A05-392CF07B439F}" dt="2021-05-03T12:56:01.439" v="813" actId="207"/>
          <ac:spMkLst>
            <pc:docMk/>
            <pc:sldMk cId="2521456746" sldId="1625"/>
            <ac:spMk id="2" creationId="{C28FDA67-637C-4C9B-84D7-9580AF86D79A}"/>
          </ac:spMkLst>
        </pc:spChg>
        <pc:spChg chg="mod">
          <ac:chgData name="Daphnée Rotenbach" userId="7408d6fd-eaeb-47da-89e0-711fd1361cf1" providerId="ADAL" clId="{E6A0457D-E37C-4445-8A05-392CF07B439F}" dt="2021-05-03T13:04:44.460" v="942" actId="14100"/>
          <ac:spMkLst>
            <pc:docMk/>
            <pc:sldMk cId="2521456746" sldId="1625"/>
            <ac:spMk id="4" creationId="{A32473D6-8ED1-45B7-B4CF-FCD8269310C1}"/>
          </ac:spMkLst>
        </pc:spChg>
        <pc:spChg chg="mod">
          <ac:chgData name="Daphnée Rotenbach" userId="7408d6fd-eaeb-47da-89e0-711fd1361cf1" providerId="ADAL" clId="{E6A0457D-E37C-4445-8A05-392CF07B439F}" dt="2021-05-03T13:01:34.320" v="890" actId="1076"/>
          <ac:spMkLst>
            <pc:docMk/>
            <pc:sldMk cId="2521456746" sldId="1625"/>
            <ac:spMk id="8" creationId="{BA8DE781-399B-4B3D-B8B6-6A0D24530A97}"/>
          </ac:spMkLst>
        </pc:spChg>
        <pc:spChg chg="mod">
          <ac:chgData name="Daphnée Rotenbach" userId="7408d6fd-eaeb-47da-89e0-711fd1361cf1" providerId="ADAL" clId="{E6A0457D-E37C-4445-8A05-392CF07B439F}" dt="2021-05-03T13:01:58.401" v="895" actId="1076"/>
          <ac:spMkLst>
            <pc:docMk/>
            <pc:sldMk cId="2521456746" sldId="1625"/>
            <ac:spMk id="10" creationId="{5009F338-071D-4290-8B07-27A4DD36639B}"/>
          </ac:spMkLst>
        </pc:spChg>
        <pc:spChg chg="mod">
          <ac:chgData name="Daphnée Rotenbach" userId="7408d6fd-eaeb-47da-89e0-711fd1361cf1" providerId="ADAL" clId="{E6A0457D-E37C-4445-8A05-392CF07B439F}" dt="2021-05-03T13:01:55.935" v="894" actId="1076"/>
          <ac:spMkLst>
            <pc:docMk/>
            <pc:sldMk cId="2521456746" sldId="1625"/>
            <ac:spMk id="12" creationId="{F0EC5FE4-56D3-41B5-8045-B1EEC6EEF45C}"/>
          </ac:spMkLst>
        </pc:spChg>
        <pc:spChg chg="mod">
          <ac:chgData name="Daphnée Rotenbach" userId="7408d6fd-eaeb-47da-89e0-711fd1361cf1" providerId="ADAL" clId="{E6A0457D-E37C-4445-8A05-392CF07B439F}" dt="2021-05-03T13:02:41.145" v="900" actId="1076"/>
          <ac:spMkLst>
            <pc:docMk/>
            <pc:sldMk cId="2521456746" sldId="1625"/>
            <ac:spMk id="14" creationId="{28FA420A-80CE-4E87-91E4-03DC48CA1B28}"/>
          </ac:spMkLst>
        </pc:spChg>
        <pc:spChg chg="mod">
          <ac:chgData name="Daphnée Rotenbach" userId="7408d6fd-eaeb-47da-89e0-711fd1361cf1" providerId="ADAL" clId="{E6A0457D-E37C-4445-8A05-392CF07B439F}" dt="2021-05-03T13:02:32.198" v="899" actId="14100"/>
          <ac:spMkLst>
            <pc:docMk/>
            <pc:sldMk cId="2521456746" sldId="1625"/>
            <ac:spMk id="15" creationId="{066A49EC-0D7B-42FA-9636-FA25590D770C}"/>
          </ac:spMkLst>
        </pc:spChg>
        <pc:spChg chg="mod">
          <ac:chgData name="Daphnée Rotenbach" userId="7408d6fd-eaeb-47da-89e0-711fd1361cf1" providerId="ADAL" clId="{E6A0457D-E37C-4445-8A05-392CF07B439F}" dt="2021-05-03T13:01:40.184" v="891" actId="1076"/>
          <ac:spMkLst>
            <pc:docMk/>
            <pc:sldMk cId="2521456746" sldId="1625"/>
            <ac:spMk id="16" creationId="{0E03BB70-66E6-4F80-B1FD-AD33DF68C39C}"/>
          </ac:spMkLst>
        </pc:spChg>
        <pc:spChg chg="mod">
          <ac:chgData name="Daphnée Rotenbach" userId="7408d6fd-eaeb-47da-89e0-711fd1361cf1" providerId="ADAL" clId="{E6A0457D-E37C-4445-8A05-392CF07B439F}" dt="2021-05-03T13:01:42.783" v="892" actId="1076"/>
          <ac:spMkLst>
            <pc:docMk/>
            <pc:sldMk cId="2521456746" sldId="1625"/>
            <ac:spMk id="17" creationId="{D9ED6D40-C318-40A8-BF53-6B5E34ED9C8B}"/>
          </ac:spMkLst>
        </pc:spChg>
        <pc:spChg chg="mod">
          <ac:chgData name="Daphnée Rotenbach" userId="7408d6fd-eaeb-47da-89e0-711fd1361cf1" providerId="ADAL" clId="{E6A0457D-E37C-4445-8A05-392CF07B439F}" dt="2021-05-03T13:01:22.945" v="880" actId="1076"/>
          <ac:spMkLst>
            <pc:docMk/>
            <pc:sldMk cId="2521456746" sldId="1625"/>
            <ac:spMk id="18" creationId="{1426E219-943A-4CC2-A21E-B88C4C91A41A}"/>
          </ac:spMkLst>
        </pc:spChg>
        <pc:spChg chg="del mod">
          <ac:chgData name="Daphnée Rotenbach" userId="7408d6fd-eaeb-47da-89e0-711fd1361cf1" providerId="ADAL" clId="{E6A0457D-E37C-4445-8A05-392CF07B439F}" dt="2021-05-03T13:00:25.669" v="854" actId="478"/>
          <ac:spMkLst>
            <pc:docMk/>
            <pc:sldMk cId="2521456746" sldId="1625"/>
            <ac:spMk id="25" creationId="{3ED359A4-FFC2-453B-8CC7-692883B5F2E6}"/>
          </ac:spMkLst>
        </pc:spChg>
        <pc:spChg chg="add mod">
          <ac:chgData name="Daphnée Rotenbach" userId="7408d6fd-eaeb-47da-89e0-711fd1361cf1" providerId="ADAL" clId="{E6A0457D-E37C-4445-8A05-392CF07B439F}" dt="2021-05-03T15:12:55.187" v="1647"/>
          <ac:spMkLst>
            <pc:docMk/>
            <pc:sldMk cId="2521456746" sldId="1625"/>
            <ac:spMk id="26" creationId="{1BDA4C5F-5D66-4900-96DC-F49EC019B104}"/>
          </ac:spMkLst>
        </pc:spChg>
        <pc:spChg chg="mod">
          <ac:chgData name="Daphnée Rotenbach" userId="7408d6fd-eaeb-47da-89e0-711fd1361cf1" providerId="ADAL" clId="{E6A0457D-E37C-4445-8A05-392CF07B439F}" dt="2021-05-03T13:02:01.221" v="896" actId="1076"/>
          <ac:spMkLst>
            <pc:docMk/>
            <pc:sldMk cId="2521456746" sldId="1625"/>
            <ac:spMk id="29" creationId="{A293336A-CA59-4D6D-ABC6-F8D1F9C06110}"/>
          </ac:spMkLst>
        </pc:spChg>
        <pc:spChg chg="mod">
          <ac:chgData name="Daphnée Rotenbach" userId="7408d6fd-eaeb-47da-89e0-711fd1361cf1" providerId="ADAL" clId="{E6A0457D-E37C-4445-8A05-392CF07B439F}" dt="2021-05-03T13:02:47.757" v="902" actId="1076"/>
          <ac:spMkLst>
            <pc:docMk/>
            <pc:sldMk cId="2521456746" sldId="1625"/>
            <ac:spMk id="30" creationId="{537B63A1-639E-4881-8ADC-B36C32985A49}"/>
          </ac:spMkLst>
        </pc:spChg>
        <pc:spChg chg="mod">
          <ac:chgData name="Daphnée Rotenbach" userId="7408d6fd-eaeb-47da-89e0-711fd1361cf1" providerId="ADAL" clId="{E6A0457D-E37C-4445-8A05-392CF07B439F}" dt="2021-05-03T13:02:43.435" v="901" actId="1076"/>
          <ac:spMkLst>
            <pc:docMk/>
            <pc:sldMk cId="2521456746" sldId="1625"/>
            <ac:spMk id="32" creationId="{26EA6613-59B0-4EE3-8C0D-944B55EF1B0E}"/>
          </ac:spMkLst>
        </pc:spChg>
        <pc:spChg chg="mod">
          <ac:chgData name="Daphnée Rotenbach" userId="7408d6fd-eaeb-47da-89e0-711fd1361cf1" providerId="ADAL" clId="{E6A0457D-E37C-4445-8A05-392CF07B439F}" dt="2021-05-03T13:02:52.222" v="903" actId="1076"/>
          <ac:spMkLst>
            <pc:docMk/>
            <pc:sldMk cId="2521456746" sldId="1625"/>
            <ac:spMk id="36" creationId="{D7FD580C-25AD-4E60-9DEE-506399962D4E}"/>
          </ac:spMkLst>
        </pc:spChg>
        <pc:spChg chg="mod">
          <ac:chgData name="Daphnée Rotenbach" userId="7408d6fd-eaeb-47da-89e0-711fd1361cf1" providerId="ADAL" clId="{E6A0457D-E37C-4445-8A05-392CF07B439F}" dt="2021-05-03T13:00:56.993" v="863" actId="1035"/>
          <ac:spMkLst>
            <pc:docMk/>
            <pc:sldMk cId="2521456746" sldId="1625"/>
            <ac:spMk id="48" creationId="{D5496640-D9B6-435E-99C3-0E7E869013DF}"/>
          </ac:spMkLst>
        </pc:spChg>
        <pc:graphicFrameChg chg="mod">
          <ac:chgData name="Daphnée Rotenbach" userId="7408d6fd-eaeb-47da-89e0-711fd1361cf1" providerId="ADAL" clId="{E6A0457D-E37C-4445-8A05-392CF07B439F}" dt="2021-05-03T13:00:56.993" v="863" actId="1035"/>
          <ac:graphicFrameMkLst>
            <pc:docMk/>
            <pc:sldMk cId="2521456746" sldId="1625"/>
            <ac:graphicFrameMk id="21" creationId="{C7CAF017-C0D1-4F11-9EE1-331CFD5AEAAA}"/>
          </ac:graphicFrameMkLst>
        </pc:graphicFrameChg>
        <pc:cxnChg chg="mod">
          <ac:chgData name="Daphnée Rotenbach" userId="7408d6fd-eaeb-47da-89e0-711fd1361cf1" providerId="ADAL" clId="{E6A0457D-E37C-4445-8A05-392CF07B439F}" dt="2021-05-03T13:02:56.877" v="904" actId="1076"/>
          <ac:cxnSpMkLst>
            <pc:docMk/>
            <pc:sldMk cId="2521456746" sldId="1625"/>
            <ac:cxnSpMk id="40" creationId="{7B301F6E-2380-4FC4-A32D-6E9FABF6E1DA}"/>
          </ac:cxnSpMkLst>
        </pc:cxnChg>
        <pc:cxnChg chg="mod">
          <ac:chgData name="Daphnée Rotenbach" userId="7408d6fd-eaeb-47da-89e0-711fd1361cf1" providerId="ADAL" clId="{E6A0457D-E37C-4445-8A05-392CF07B439F}" dt="2021-05-03T13:03:08.567" v="909" actId="1036"/>
          <ac:cxnSpMkLst>
            <pc:docMk/>
            <pc:sldMk cId="2521456746" sldId="1625"/>
            <ac:cxnSpMk id="41" creationId="{6FFF96CA-5FEE-4FDE-BA7E-84BB9F4DC7D2}"/>
          </ac:cxnSpMkLst>
        </pc:cxnChg>
        <pc:cxnChg chg="mod">
          <ac:chgData name="Daphnée Rotenbach" userId="7408d6fd-eaeb-47da-89e0-711fd1361cf1" providerId="ADAL" clId="{E6A0457D-E37C-4445-8A05-392CF07B439F}" dt="2021-05-03T13:03:20.673" v="916" actId="1035"/>
          <ac:cxnSpMkLst>
            <pc:docMk/>
            <pc:sldMk cId="2521456746" sldId="1625"/>
            <ac:cxnSpMk id="42" creationId="{1F32D61D-75AC-4251-8142-A2A7E855D854}"/>
          </ac:cxnSpMkLst>
        </pc:cxnChg>
        <pc:cxnChg chg="mod">
          <ac:chgData name="Daphnée Rotenbach" userId="7408d6fd-eaeb-47da-89e0-711fd1361cf1" providerId="ADAL" clId="{E6A0457D-E37C-4445-8A05-392CF07B439F}" dt="2021-05-03T13:00:04.769" v="852" actId="1038"/>
          <ac:cxnSpMkLst>
            <pc:docMk/>
            <pc:sldMk cId="2521456746" sldId="1625"/>
            <ac:cxnSpMk id="43" creationId="{508972B3-E330-4235-8910-CA72C5992FBB}"/>
          </ac:cxnSpMkLst>
        </pc:cxnChg>
        <pc:cxnChg chg="mod">
          <ac:chgData name="Daphnée Rotenbach" userId="7408d6fd-eaeb-47da-89e0-711fd1361cf1" providerId="ADAL" clId="{E6A0457D-E37C-4445-8A05-392CF07B439F}" dt="2021-05-03T13:02:59.503" v="905" actId="1076"/>
          <ac:cxnSpMkLst>
            <pc:docMk/>
            <pc:sldMk cId="2521456746" sldId="1625"/>
            <ac:cxnSpMk id="44" creationId="{1ECC53B6-C341-4419-9A06-F0B219DEE918}"/>
          </ac:cxnSpMkLst>
        </pc:cxnChg>
        <pc:cxnChg chg="mod">
          <ac:chgData name="Daphnée Rotenbach" userId="7408d6fd-eaeb-47da-89e0-711fd1361cf1" providerId="ADAL" clId="{E6A0457D-E37C-4445-8A05-392CF07B439F}" dt="2021-05-03T13:03:14.523" v="911" actId="1035"/>
          <ac:cxnSpMkLst>
            <pc:docMk/>
            <pc:sldMk cId="2521456746" sldId="1625"/>
            <ac:cxnSpMk id="46" creationId="{A3333417-5E24-4DF0-A5EE-7A7E01DD0ECE}"/>
          </ac:cxnSpMkLst>
        </pc:cxnChg>
        <pc:cxnChg chg="mod">
          <ac:chgData name="Daphnée Rotenbach" userId="7408d6fd-eaeb-47da-89e0-711fd1361cf1" providerId="ADAL" clId="{E6A0457D-E37C-4445-8A05-392CF07B439F}" dt="2021-05-03T13:01:28.024" v="889" actId="1035"/>
          <ac:cxnSpMkLst>
            <pc:docMk/>
            <pc:sldMk cId="2521456746" sldId="1625"/>
            <ac:cxnSpMk id="47" creationId="{18BCEA05-246B-4DAA-84C2-691B204791C7}"/>
          </ac:cxnSpMkLst>
        </pc:cxnChg>
      </pc:sldChg>
      <pc:sldChg chg="modSp add del mod">
        <pc:chgData name="Daphnée Rotenbach" userId="7408d6fd-eaeb-47da-89e0-711fd1361cf1" providerId="ADAL" clId="{E6A0457D-E37C-4445-8A05-392CF07B439F}" dt="2021-05-03T12:33:13.695" v="634" actId="47"/>
        <pc:sldMkLst>
          <pc:docMk/>
          <pc:sldMk cId="585474329" sldId="1626"/>
        </pc:sldMkLst>
        <pc:spChg chg="mod">
          <ac:chgData name="Daphnée Rotenbach" userId="7408d6fd-eaeb-47da-89e0-711fd1361cf1" providerId="ADAL" clId="{E6A0457D-E37C-4445-8A05-392CF07B439F}" dt="2021-05-03T12:26:16.639" v="559" actId="6549"/>
          <ac:spMkLst>
            <pc:docMk/>
            <pc:sldMk cId="585474329" sldId="1626"/>
            <ac:spMk id="2" creationId="{26325284-20C8-4D21-9864-250826F6DF98}"/>
          </ac:spMkLst>
        </pc:spChg>
      </pc:sldChg>
      <pc:sldChg chg="modSp add del mod">
        <pc:chgData name="Daphnée Rotenbach" userId="7408d6fd-eaeb-47da-89e0-711fd1361cf1" providerId="ADAL" clId="{E6A0457D-E37C-4445-8A05-392CF07B439F}" dt="2021-05-03T12:40:47.413" v="679" actId="47"/>
        <pc:sldMkLst>
          <pc:docMk/>
          <pc:sldMk cId="812342257" sldId="1626"/>
        </pc:sldMkLst>
        <pc:spChg chg="mod">
          <ac:chgData name="Daphnée Rotenbach" userId="7408d6fd-eaeb-47da-89e0-711fd1361cf1" providerId="ADAL" clId="{E6A0457D-E37C-4445-8A05-392CF07B439F}" dt="2021-05-03T12:39:38.349" v="672" actId="207"/>
          <ac:spMkLst>
            <pc:docMk/>
            <pc:sldMk cId="812342257" sldId="1626"/>
            <ac:spMk id="4" creationId="{44308A8F-2BAE-498A-A0CC-950034010BD2}"/>
          </ac:spMkLst>
        </pc:spChg>
        <pc:spChg chg="mod">
          <ac:chgData name="Daphnée Rotenbach" userId="7408d6fd-eaeb-47da-89e0-711fd1361cf1" providerId="ADAL" clId="{E6A0457D-E37C-4445-8A05-392CF07B439F}" dt="2021-05-03T12:39:33.085" v="671" actId="207"/>
          <ac:spMkLst>
            <pc:docMk/>
            <pc:sldMk cId="812342257" sldId="1626"/>
            <ac:spMk id="11" creationId="{15809935-B924-48FD-9E2C-07AA42EB1A05}"/>
          </ac:spMkLst>
        </pc:spChg>
        <pc:spChg chg="mod">
          <ac:chgData name="Daphnée Rotenbach" userId="7408d6fd-eaeb-47da-89e0-711fd1361cf1" providerId="ADAL" clId="{E6A0457D-E37C-4445-8A05-392CF07B439F}" dt="2021-05-03T12:40:08.983" v="678" actId="208"/>
          <ac:spMkLst>
            <pc:docMk/>
            <pc:sldMk cId="812342257" sldId="1626"/>
            <ac:spMk id="12" creationId="{EA921A8A-B4C3-470B-94E3-8C4DF23D793F}"/>
          </ac:spMkLst>
        </pc:spChg>
        <pc:spChg chg="mod">
          <ac:chgData name="Daphnée Rotenbach" userId="7408d6fd-eaeb-47da-89e0-711fd1361cf1" providerId="ADAL" clId="{E6A0457D-E37C-4445-8A05-392CF07B439F}" dt="2021-05-03T12:40:00.236" v="675" actId="208"/>
          <ac:spMkLst>
            <pc:docMk/>
            <pc:sldMk cId="812342257" sldId="1626"/>
            <ac:spMk id="13" creationId="{87756EEA-DD99-44BC-B094-065F15D8EDE3}"/>
          </ac:spMkLst>
        </pc:spChg>
      </pc:sldChg>
      <pc:sldChg chg="modSp add del mod">
        <pc:chgData name="Daphnée Rotenbach" userId="7408d6fd-eaeb-47da-89e0-711fd1361cf1" providerId="ADAL" clId="{E6A0457D-E37C-4445-8A05-392CF07B439F}" dt="2021-05-03T12:41:34.825" v="683" actId="47"/>
        <pc:sldMkLst>
          <pc:docMk/>
          <pc:sldMk cId="1410235112" sldId="1626"/>
        </pc:sldMkLst>
        <pc:spChg chg="mod">
          <ac:chgData name="Daphnée Rotenbach" userId="7408d6fd-eaeb-47da-89e0-711fd1361cf1" providerId="ADAL" clId="{E6A0457D-E37C-4445-8A05-392CF07B439F}" dt="2021-05-03T12:41:21.273" v="682" actId="207"/>
          <ac:spMkLst>
            <pc:docMk/>
            <pc:sldMk cId="1410235112" sldId="1626"/>
            <ac:spMk id="12" creationId="{EA921A8A-B4C3-470B-94E3-8C4DF23D793F}"/>
          </ac:spMkLst>
        </pc:spChg>
        <pc:spChg chg="mod">
          <ac:chgData name="Daphnée Rotenbach" userId="7408d6fd-eaeb-47da-89e0-711fd1361cf1" providerId="ADAL" clId="{E6A0457D-E37C-4445-8A05-392CF07B439F}" dt="2021-05-03T12:41:17.847" v="681" actId="207"/>
          <ac:spMkLst>
            <pc:docMk/>
            <pc:sldMk cId="1410235112" sldId="1626"/>
            <ac:spMk id="13" creationId="{87756EEA-DD99-44BC-B094-065F15D8EDE3}"/>
          </ac:spMkLst>
        </pc:spChg>
      </pc:sldChg>
      <pc:sldChg chg="add">
        <pc:chgData name="Daphnée Rotenbach" userId="7408d6fd-eaeb-47da-89e0-711fd1361cf1" providerId="ADAL" clId="{E6A0457D-E37C-4445-8A05-392CF07B439F}" dt="2021-05-03T14:26:07.522" v="1318"/>
        <pc:sldMkLst>
          <pc:docMk/>
          <pc:sldMk cId="2236650680" sldId="1626"/>
        </pc:sldMkLst>
      </pc:sldChg>
      <pc:sldChg chg="add">
        <pc:chgData name="Daphnée Rotenbach" userId="7408d6fd-eaeb-47da-89e0-711fd1361cf1" providerId="ADAL" clId="{E6A0457D-E37C-4445-8A05-392CF07B439F}" dt="2021-05-03T15:15:12.454" v="1668"/>
        <pc:sldMkLst>
          <pc:docMk/>
          <pc:sldMk cId="3676979894" sldId="1627"/>
        </pc:sldMkLst>
      </pc:sldChg>
      <pc:sldMasterChg chg="delSldLayout">
        <pc:chgData name="Daphnée Rotenbach" userId="7408d6fd-eaeb-47da-89e0-711fd1361cf1" providerId="ADAL" clId="{E6A0457D-E37C-4445-8A05-392CF07B439F}" dt="2021-04-21T14:16:00.336" v="218" actId="47"/>
        <pc:sldMasterMkLst>
          <pc:docMk/>
          <pc:sldMasterMk cId="170994643" sldId="2147483648"/>
        </pc:sldMasterMkLst>
        <pc:sldLayoutChg chg="del">
          <pc:chgData name="Daphnée Rotenbach" userId="7408d6fd-eaeb-47da-89e0-711fd1361cf1" providerId="ADAL" clId="{E6A0457D-E37C-4445-8A05-392CF07B439F}" dt="2021-04-21T14:16:00.336" v="218" actId="47"/>
          <pc:sldLayoutMkLst>
            <pc:docMk/>
            <pc:sldMasterMk cId="170994643" sldId="2147483648"/>
            <pc:sldLayoutMk cId="4218527263" sldId="2147483674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Daphn&#233;e%20Rotenbach\Downloads\R&#233;partition%20des%20investissement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1-4AA6-401E-BAC5-ED8659EC6BD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3-4AA6-401E-BAC5-ED8659EC6BD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5-4AA6-401E-BAC5-ED8659EC6BD1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7-4AA6-401E-BAC5-ED8659EC6BD1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9-4AA6-401E-BAC5-ED8659EC6BD1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B-4AA6-401E-BAC5-ED8659EC6BD1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D-4AA6-401E-BAC5-ED8659EC6BD1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F-4AA6-401E-BAC5-ED8659EC6BD1}"/>
              </c:ext>
            </c:extLst>
          </c:dPt>
          <c:dLbls>
            <c:dLbl>
              <c:idx val="0"/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sz="1100">
                        <a:solidFill>
                          <a:srgbClr val="9D1E5C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defRPr>
                    </a:pPr>
                    <a:r>
                      <a:rPr lang="en-US"/>
                      <a:t>Roofs</a:t>
                    </a:r>
                    <a:r>
                      <a:rPr lang="en-US" baseline="0"/>
                      <a:t>
</a:t>
                    </a:r>
                    <a:fld id="{48A2DAFB-0AC5-4C04-9D4F-A2A335203C75}" type="PERCENTAGE">
                      <a:rPr lang="en-US" baseline="0"/>
                      <a:pPr>
                        <a:defRPr sz="1100">
                          <a:solidFill>
                            <a:srgbClr val="9D1E5C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defRPr>
                      </a:pPr>
                      <a:t>[POURCENTAGE]</a:t>
                    </a:fld>
                    <a:endParaRPr lang="en-US" baseline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4AA6-401E-BAC5-ED8659EC6BD1}"/>
                </c:ext>
              </c:extLst>
            </c:dLbl>
            <c:dLbl>
              <c:idx val="1"/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sz="1100">
                        <a:solidFill>
                          <a:srgbClr val="003E74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defRPr>
                    </a:pPr>
                    <a:r>
                      <a:rPr lang="en-US" baseline="0"/>
                      <a:t>Facades
21 %</a:t>
                    </a:r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4AA6-401E-BAC5-ED8659EC6BD1}"/>
                </c:ext>
              </c:extLst>
            </c:dLbl>
            <c:dLbl>
              <c:idx val="2"/>
              <c:layout>
                <c:manualLayout>
                  <c:x val="-1.3426716127984958E-2"/>
                  <c:y val="-1.5808398882345936E-16"/>
                </c:manualLayout>
              </c:layout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sz="1100">
                        <a:solidFill>
                          <a:srgbClr val="DF6EA3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defRPr>
                    </a:pPr>
                    <a:r>
                      <a:rPr lang="en-US"/>
                      <a:t>Grounds</a:t>
                    </a:r>
                    <a:r>
                      <a:rPr lang="en-US" baseline="0"/>
                      <a:t>
</a:t>
                    </a:r>
                    <a:fld id="{494B71E3-979F-4621-B3EA-6633579A3E5B}" type="PERCENTAGE">
                      <a:rPr lang="en-US" baseline="0"/>
                      <a:pPr>
                        <a:defRPr sz="1100">
                          <a:solidFill>
                            <a:srgbClr val="DF6EA3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defRPr>
                      </a:pPr>
                      <a:t>[POURCENTAGE]</a:t>
                    </a:fld>
                    <a:endParaRPr lang="en-US" baseline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4AA6-401E-BAC5-ED8659EC6BD1}"/>
                </c:ext>
              </c:extLst>
            </c:dLbl>
            <c:dLbl>
              <c:idx val="3"/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sz="1100">
                        <a:solidFill>
                          <a:srgbClr val="38A1F9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defRPr>
                    </a:pPr>
                    <a:r>
                      <a:rPr lang="en-US"/>
                      <a:t>Windows</a:t>
                    </a:r>
                    <a:r>
                      <a:rPr lang="en-US" baseline="0"/>
                      <a:t>
22 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4AA6-401E-BAC5-ED8659EC6BD1}"/>
                </c:ext>
              </c:extLst>
            </c:dLbl>
            <c:dLbl>
              <c:idx val="4"/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sz="1100">
                        <a:solidFill>
                          <a:srgbClr val="5A99D3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defRPr>
                    </a:pPr>
                    <a:r>
                      <a:rPr lang="en-US"/>
                      <a:t>Boilers</a:t>
                    </a:r>
                    <a:br>
                      <a:rPr lang="en-US"/>
                    </a:br>
                    <a:r>
                      <a:rPr lang="en-US"/>
                      <a:t>15 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4AA6-401E-BAC5-ED8659EC6BD1}"/>
                </c:ext>
              </c:extLst>
            </c:dLbl>
            <c:dLbl>
              <c:idx val="5"/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sz="1100">
                        <a:solidFill>
                          <a:srgbClr val="6EAB4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defRPr>
                    </a:pPr>
                    <a:r>
                      <a:rPr lang="en-US"/>
                      <a:t>Ventilation</a:t>
                    </a:r>
                    <a:br>
                      <a:rPr lang="en-US"/>
                    </a:br>
                    <a:r>
                      <a:rPr lang="en-US"/>
                      <a:t>11 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B-4AA6-401E-BAC5-ED8659EC6BD1}"/>
                </c:ext>
              </c:extLst>
            </c:dLbl>
            <c:dLbl>
              <c:idx val="6"/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sz="1100">
                        <a:solidFill>
                          <a:srgbClr val="5E123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defRPr>
                    </a:pPr>
                    <a:r>
                      <a:rPr lang="en-US"/>
                      <a:t>Lighting</a:t>
                    </a:r>
                    <a:r>
                      <a:rPr lang="en-US" baseline="0"/>
                      <a:t>
</a:t>
                    </a:r>
                    <a:fld id="{8A1A95CA-2CF1-43CF-B00C-CCB9CDB11F66}" type="PERCENTAGE">
                      <a:rPr lang="en-US" baseline="0"/>
                      <a:pPr>
                        <a:defRPr sz="1100">
                          <a:solidFill>
                            <a:srgbClr val="5E123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defRPr>
                      </a:pPr>
                      <a:t>[POURCENTAGE]</a:t>
                    </a:fld>
                    <a:endParaRPr lang="en-US" baseline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4AA6-401E-BAC5-ED8659EC6BD1}"/>
                </c:ext>
              </c:extLst>
            </c:dLbl>
            <c:dLbl>
              <c:idx val="7"/>
              <c:layout>
                <c:manualLayout>
                  <c:x val="6.0410766109806932E-2"/>
                  <c:y val="-7.7754205312953791E-3"/>
                </c:manualLayout>
              </c:layout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sz="1100">
                        <a:solidFill>
                          <a:srgbClr val="00244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defRPr>
                    </a:pPr>
                    <a:r>
                      <a:rPr lang="en-US"/>
                      <a:t>photovoltaic</a:t>
                    </a:r>
                    <a:r>
                      <a:rPr lang="en-US" baseline="0"/>
                      <a:t>
</a:t>
                    </a:r>
                    <a:fld id="{83B73223-D172-470A-99E4-C9F0FB2F1CD3}" type="PERCENTAGE">
                      <a:rPr lang="en-US" baseline="0"/>
                      <a:pPr>
                        <a:defRPr sz="1100">
                          <a:solidFill>
                            <a:srgbClr val="00244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defRPr>
                      </a:pPr>
                      <a:t>[POURCENTAGE]</a:t>
                    </a:fld>
                    <a:endParaRPr lang="en-US" baseline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4AA6-401E-BAC5-ED8659EC6BD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>
                    <a:latin typeface="Verdana" panose="020B0604030504040204" pitchFamily="34" charset="0"/>
                    <a:ea typeface="Verdana" panose="020B0604030504040204" pitchFamily="34" charset="0"/>
                  </a:defRPr>
                </a:pPr>
                <a:endParaRPr lang="fr-FR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euil1!$F$20:$M$20</c:f>
              <c:strCache>
                <c:ptCount val="8"/>
                <c:pt idx="0">
                  <c:v>Toiture</c:v>
                </c:pt>
                <c:pt idx="1">
                  <c:v>Parois verticale</c:v>
                </c:pt>
                <c:pt idx="2">
                  <c:v>Sols</c:v>
                </c:pt>
                <c:pt idx="3">
                  <c:v>Châssis</c:v>
                </c:pt>
                <c:pt idx="4">
                  <c:v>Chaufferie</c:v>
                </c:pt>
                <c:pt idx="5">
                  <c:v>Ventilation</c:v>
                </c:pt>
                <c:pt idx="6">
                  <c:v>Eclairage</c:v>
                </c:pt>
                <c:pt idx="7">
                  <c:v>Photovoltaïque</c:v>
                </c:pt>
              </c:strCache>
            </c:strRef>
          </c:cat>
          <c:val>
            <c:numRef>
              <c:f>Feuil1!$F$21:$M$21</c:f>
              <c:numCache>
                <c:formatCode>#,##0\ "€"</c:formatCode>
                <c:ptCount val="8"/>
                <c:pt idx="0">
                  <c:v>15869589.785990927</c:v>
                </c:pt>
                <c:pt idx="1">
                  <c:v>13909033.408252733</c:v>
                </c:pt>
                <c:pt idx="2">
                  <c:v>388937.5</c:v>
                </c:pt>
                <c:pt idx="3">
                  <c:v>15540927.500290584</c:v>
                </c:pt>
                <c:pt idx="4">
                  <c:v>8779191.0420857091</c:v>
                </c:pt>
                <c:pt idx="5">
                  <c:v>5849835.5999999996</c:v>
                </c:pt>
                <c:pt idx="6">
                  <c:v>655519.80000000005</c:v>
                </c:pt>
                <c:pt idx="7">
                  <c:v>26754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4AA6-401E-BAC5-ED8659EC6BD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BE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350160-DBE9-4E46-AE13-E11E4E72DB4D}" type="datetimeFigureOut">
              <a:rPr lang="fr-BE" smtClean="0"/>
              <a:t>10-05-21</a:t>
            </a:fld>
            <a:endParaRPr lang="fr-BE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BE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BE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4C49F3-000B-4CB3-B507-0A75A24A15AC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2429061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B7B553-2940-44B9-8713-4A2A03175E4A}" type="slidenum">
              <a:rPr lang="fr-BE" smtClean="0"/>
              <a:t>4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2283561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B7B553-2940-44B9-8713-4A2A03175E4A}" type="slidenum">
              <a:rPr lang="fr-BE" smtClean="0"/>
              <a:t>12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5045264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B7B553-2940-44B9-8713-4A2A03175E4A}" type="slidenum">
              <a:rPr lang="fr-BE" smtClean="0"/>
              <a:t>14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1858900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4C49F3-000B-4CB3-B507-0A75A24A15AC}" type="slidenum">
              <a:rPr lang="fr-BE" smtClean="0"/>
              <a:t>23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5586015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B7B553-2940-44B9-8713-4A2A03175E4A}" type="slidenum">
              <a:rPr lang="fr-BE" smtClean="0"/>
              <a:t>26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8068581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B7B553-2940-44B9-8713-4A2A03175E4A}" type="slidenum">
              <a:rPr lang="fr-BE" smtClean="0"/>
              <a:t>30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9469149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Relationship Id="rId6" Type="http://schemas.openxmlformats.org/officeDocument/2006/relationships/image" Target="../media/image6.emf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B2AD1EE-5D22-4665-9E37-B03AE101F0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8445ACFC-E0DA-49E4-833A-96EB7D258C6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fr-BE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DC7D259C-61E7-4F96-B602-01886CEF6A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07BD4D-8557-4286-ABA5-464BC9F2E553}" type="datetimeFigureOut">
              <a:rPr lang="fr-BE" smtClean="0"/>
              <a:t>10-05-21</a:t>
            </a:fld>
            <a:endParaRPr lang="fr-BE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9913539-466B-4A07-B51E-73D6F91E5E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B241298-7FBD-4015-BAFD-062CD4CD3C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3455D1-AF87-4436-A29B-834EF68F90D6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8347847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B2241A0-B190-430E-89A8-244BE04864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ED09E92A-0878-4465-A257-EA52373118C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DE816886-50B8-4A16-8FE5-4BCE063C89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07BD4D-8557-4286-ABA5-464BC9F2E553}" type="datetimeFigureOut">
              <a:rPr lang="fr-BE" smtClean="0"/>
              <a:t>10-05-21</a:t>
            </a:fld>
            <a:endParaRPr lang="fr-BE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FF0BCA5-64D9-4083-8467-0429062CE9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F8307168-0A45-4348-87E9-D0A1CB0B1B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3455D1-AF87-4436-A29B-834EF68F90D6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460502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4CC5D62C-2C24-488D-89D9-36D109C6A77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2C2EB299-238A-441F-957D-85ECFA19910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B5E70BF-2C24-4A3C-9DF7-2441E467A7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07BD4D-8557-4286-ABA5-464BC9F2E553}" type="datetimeFigureOut">
              <a:rPr lang="fr-BE" smtClean="0"/>
              <a:t>10-05-21</a:t>
            </a:fld>
            <a:endParaRPr lang="fr-BE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AC3E81D-5357-453A-B0D2-7A236F11EF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ABB605E6-3599-46AE-AC19-C7D71BDAFE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3455D1-AF87-4436-A29B-834EF68F90D6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4494073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66A9C6A-6D79-42F9-824F-A4C6E65BDB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0C9A9830-7843-4F99-A732-0185527C48C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6" indent="0" algn="ctr">
              <a:buNone/>
              <a:defRPr sz="2000"/>
            </a:lvl2pPr>
            <a:lvl3pPr marL="914411" indent="0" algn="ctr">
              <a:buNone/>
              <a:defRPr sz="1801"/>
            </a:lvl3pPr>
            <a:lvl4pPr marL="1371617" indent="0" algn="ctr">
              <a:buNone/>
              <a:defRPr sz="1600"/>
            </a:lvl4pPr>
            <a:lvl5pPr marL="1828823" indent="0" algn="ctr">
              <a:buNone/>
              <a:defRPr sz="1600"/>
            </a:lvl5pPr>
            <a:lvl6pPr marL="2286029" indent="0" algn="ctr">
              <a:buNone/>
              <a:defRPr sz="1600"/>
            </a:lvl6pPr>
            <a:lvl7pPr marL="2743234" indent="0" algn="ctr">
              <a:buNone/>
              <a:defRPr sz="1600"/>
            </a:lvl7pPr>
            <a:lvl8pPr marL="3200440" indent="0" algn="ctr">
              <a:buNone/>
              <a:defRPr sz="1600"/>
            </a:lvl8pPr>
            <a:lvl9pPr marL="3657646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fr-BE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26DADCD-9C54-4935-BBF2-7083626DCD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6B8309-4A61-4DA9-9554-95CAA9B71B31}" type="datetimeFigureOut">
              <a:rPr lang="fr-BE" smtClean="0"/>
              <a:t>10-05-21</a:t>
            </a:fld>
            <a:endParaRPr lang="fr-BE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D7E3408-CDC2-4C67-A2AB-CCD1C7BA0F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767CADB-8E5F-4507-A9EA-B14F84EB72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16AC20-791C-49CE-B0C6-303FA438E7E9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2672583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D1AA58C-8604-4BC1-A866-3FC68AE2FC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EC930FDA-C93E-4C05-8708-60E8B27B26E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5E0A4797-1FE1-477C-BF3D-5A493474F9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6B8309-4A61-4DA9-9554-95CAA9B71B31}" type="datetimeFigureOut">
              <a:rPr lang="fr-BE" smtClean="0"/>
              <a:t>10-05-21</a:t>
            </a:fld>
            <a:endParaRPr lang="fr-BE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F1064DE8-D8E7-4C80-8D78-C7EB339161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F2778CC-88EA-4AE9-87A2-2157FDB476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16AC20-791C-49CE-B0C6-303FA438E7E9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1003027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E02A99D-9ABA-4A75-8802-B1C6DA9BAE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2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F17BA9F-3547-4D55-83BD-28D0D3B096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2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11" indent="0">
              <a:buNone/>
              <a:defRPr sz="1801">
                <a:solidFill>
                  <a:schemeClr val="tx1">
                    <a:tint val="75000"/>
                  </a:schemeClr>
                </a:solidFill>
              </a:defRPr>
            </a:lvl3pPr>
            <a:lvl4pPr marL="13716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2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C01D825-02CA-4358-8E25-D8127DF557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6B8309-4A61-4DA9-9554-95CAA9B71B31}" type="datetimeFigureOut">
              <a:rPr lang="fr-BE" smtClean="0"/>
              <a:t>10-05-21</a:t>
            </a:fld>
            <a:endParaRPr lang="fr-BE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911F576-8F87-4735-9030-62121A574A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90B65EF-089A-44C0-99C6-87D4BA601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16AC20-791C-49CE-B0C6-303FA438E7E9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5162179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5504605-AFC5-4E0B-9877-ED3415937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D70CA23-E03B-41E6-96D0-8750A747BE9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1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8D3C8BE9-A8F6-4921-A26E-1DAEDABA7B8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1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B5703C4C-3739-442B-9F96-F240B12189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6B8309-4A61-4DA9-9554-95CAA9B71B31}" type="datetimeFigureOut">
              <a:rPr lang="fr-BE" smtClean="0"/>
              <a:t>10-05-21</a:t>
            </a:fld>
            <a:endParaRPr lang="fr-BE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2ACC3C4-4404-4D79-908C-E8220CD642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9C504D45-1ADA-4CCB-A54C-91AFDDACDB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16AC20-791C-49CE-B0C6-303FA438E7E9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8109176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55D45E1-C99D-497F-A882-1CC6B4E3B8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3B67A85-41C4-40E4-BDB8-E13034B4AA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6" indent="0">
              <a:buNone/>
              <a:defRPr sz="2000" b="1"/>
            </a:lvl2pPr>
            <a:lvl3pPr marL="914411" indent="0">
              <a:buNone/>
              <a:defRPr sz="1801" b="1"/>
            </a:lvl3pPr>
            <a:lvl4pPr marL="1371617" indent="0">
              <a:buNone/>
              <a:defRPr sz="1600" b="1"/>
            </a:lvl4pPr>
            <a:lvl5pPr marL="1828823" indent="0">
              <a:buNone/>
              <a:defRPr sz="1600" b="1"/>
            </a:lvl5pPr>
            <a:lvl6pPr marL="2286029" indent="0">
              <a:buNone/>
              <a:defRPr sz="1600" b="1"/>
            </a:lvl6pPr>
            <a:lvl7pPr marL="2743234" indent="0">
              <a:buNone/>
              <a:defRPr sz="1600" b="1"/>
            </a:lvl7pPr>
            <a:lvl8pPr marL="3200440" indent="0">
              <a:buNone/>
              <a:defRPr sz="1600" b="1"/>
            </a:lvl8pPr>
            <a:lvl9pPr marL="3657646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7B9A0F8C-249A-4557-9320-5A8564C763C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6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1E82B60B-76F5-4EF4-8C93-66B3BF9F76B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2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6" indent="0">
              <a:buNone/>
              <a:defRPr sz="2000" b="1"/>
            </a:lvl2pPr>
            <a:lvl3pPr marL="914411" indent="0">
              <a:buNone/>
              <a:defRPr sz="1801" b="1"/>
            </a:lvl3pPr>
            <a:lvl4pPr marL="1371617" indent="0">
              <a:buNone/>
              <a:defRPr sz="1600" b="1"/>
            </a:lvl4pPr>
            <a:lvl5pPr marL="1828823" indent="0">
              <a:buNone/>
              <a:defRPr sz="1600" b="1"/>
            </a:lvl5pPr>
            <a:lvl6pPr marL="2286029" indent="0">
              <a:buNone/>
              <a:defRPr sz="1600" b="1"/>
            </a:lvl6pPr>
            <a:lvl7pPr marL="2743234" indent="0">
              <a:buNone/>
              <a:defRPr sz="1600" b="1"/>
            </a:lvl7pPr>
            <a:lvl8pPr marL="3200440" indent="0">
              <a:buNone/>
              <a:defRPr sz="1600" b="1"/>
            </a:lvl8pPr>
            <a:lvl9pPr marL="3657646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668B3F9E-E269-4D5A-901D-EAECC39858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2" y="2505076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954D8DF3-096F-45BB-A83F-F4E416EFC5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6B8309-4A61-4DA9-9554-95CAA9B71B31}" type="datetimeFigureOut">
              <a:rPr lang="fr-BE" smtClean="0"/>
              <a:t>10-05-21</a:t>
            </a:fld>
            <a:endParaRPr lang="fr-BE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737306FF-85BB-41D9-9886-9FD438C7CF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EB4052A0-0D85-4A67-9F97-2BD2DA69B5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16AC20-791C-49CE-B0C6-303FA438E7E9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9656746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887BB4C-3D51-4DE2-84F6-BD889113B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56606181-6305-436E-830D-F1954FF3F2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6B8309-4A61-4DA9-9554-95CAA9B71B31}" type="datetimeFigureOut">
              <a:rPr lang="fr-BE" smtClean="0"/>
              <a:t>10-05-21</a:t>
            </a:fld>
            <a:endParaRPr lang="fr-BE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DBE89B2D-5B7D-4C3C-BF3A-E32FEA67F6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DDC69621-62CC-4EDF-B2A3-BD4A1CB678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16AC20-791C-49CE-B0C6-303FA438E7E9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5326576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8C1E8EE2-6BC8-4579-A595-3202773A17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6B8309-4A61-4DA9-9554-95CAA9B71B31}" type="datetimeFigureOut">
              <a:rPr lang="fr-BE" smtClean="0"/>
              <a:t>10-05-21</a:t>
            </a:fld>
            <a:endParaRPr lang="fr-BE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646C7BC1-4918-430C-8A9D-2259A72082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B232D29-69DB-4AFE-8C73-1A533B492E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16AC20-791C-49CE-B0C6-303FA438E7E9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1730480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33F90DF-8107-4A8E-9D8B-C27D06DE9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6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42A2AA4-66E2-43DB-9C5F-0E9DC235E6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1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5ACF738D-CB6A-4A59-A915-78D45CC467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6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6" indent="0">
              <a:buNone/>
              <a:defRPr sz="1401"/>
            </a:lvl2pPr>
            <a:lvl3pPr marL="914411" indent="0">
              <a:buNone/>
              <a:defRPr sz="1200"/>
            </a:lvl3pPr>
            <a:lvl4pPr marL="1371617" indent="0">
              <a:buNone/>
              <a:defRPr sz="1001"/>
            </a:lvl4pPr>
            <a:lvl5pPr marL="1828823" indent="0">
              <a:buNone/>
              <a:defRPr sz="1001"/>
            </a:lvl5pPr>
            <a:lvl6pPr marL="2286029" indent="0">
              <a:buNone/>
              <a:defRPr sz="1001"/>
            </a:lvl6pPr>
            <a:lvl7pPr marL="2743234" indent="0">
              <a:buNone/>
              <a:defRPr sz="1001"/>
            </a:lvl7pPr>
            <a:lvl8pPr marL="3200440" indent="0">
              <a:buNone/>
              <a:defRPr sz="1001"/>
            </a:lvl8pPr>
            <a:lvl9pPr marL="3657646" indent="0">
              <a:buNone/>
              <a:defRPr sz="100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3272140D-33A4-4089-8A43-8FD73F5BE5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6B8309-4A61-4DA9-9554-95CAA9B71B31}" type="datetimeFigureOut">
              <a:rPr lang="fr-BE" smtClean="0"/>
              <a:t>10-05-21</a:t>
            </a:fld>
            <a:endParaRPr lang="fr-BE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88888FB2-816C-4A2D-8F1E-24D3588727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5A5AA8A8-AA5D-494B-892B-73E9776631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16AC20-791C-49CE-B0C6-303FA438E7E9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8259043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8E5D246-7995-4853-A217-9E5ADE8BB5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1EA7234-3AF5-40DE-98BD-B7CF4CA244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5E09947-0D48-4103-8F8E-28AA5527BF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07BD4D-8557-4286-ABA5-464BC9F2E553}" type="datetimeFigureOut">
              <a:rPr lang="fr-BE" smtClean="0"/>
              <a:t>10-05-21</a:t>
            </a:fld>
            <a:endParaRPr lang="fr-BE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DEE8E28-DD86-417C-A909-91970C014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5A25462-F7A5-4967-8A53-9454EFF41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3455D1-AF87-4436-A29B-834EF68F90D6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17871238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9E39190-90F2-47FD-B558-A48A88E2DC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6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C1B9B5AB-A549-4504-A015-1E75C94BBA8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1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6" indent="0">
              <a:buNone/>
              <a:defRPr sz="2800"/>
            </a:lvl2pPr>
            <a:lvl3pPr marL="914411" indent="0">
              <a:buNone/>
              <a:defRPr sz="2400"/>
            </a:lvl3pPr>
            <a:lvl4pPr marL="1371617" indent="0">
              <a:buNone/>
              <a:defRPr sz="2000"/>
            </a:lvl4pPr>
            <a:lvl5pPr marL="1828823" indent="0">
              <a:buNone/>
              <a:defRPr sz="2000"/>
            </a:lvl5pPr>
            <a:lvl6pPr marL="2286029" indent="0">
              <a:buNone/>
              <a:defRPr sz="2000"/>
            </a:lvl6pPr>
            <a:lvl7pPr marL="2743234" indent="0">
              <a:buNone/>
              <a:defRPr sz="2000"/>
            </a:lvl7pPr>
            <a:lvl8pPr marL="3200440" indent="0">
              <a:buNone/>
              <a:defRPr sz="2000"/>
            </a:lvl8pPr>
            <a:lvl9pPr marL="3657646" indent="0">
              <a:buNone/>
              <a:defRPr sz="2000"/>
            </a:lvl9pPr>
          </a:lstStyle>
          <a:p>
            <a:endParaRPr lang="fr-BE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133618F2-FC58-47B8-87E7-EF9BEF6AE72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6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6" indent="0">
              <a:buNone/>
              <a:defRPr sz="1401"/>
            </a:lvl2pPr>
            <a:lvl3pPr marL="914411" indent="0">
              <a:buNone/>
              <a:defRPr sz="1200"/>
            </a:lvl3pPr>
            <a:lvl4pPr marL="1371617" indent="0">
              <a:buNone/>
              <a:defRPr sz="1001"/>
            </a:lvl4pPr>
            <a:lvl5pPr marL="1828823" indent="0">
              <a:buNone/>
              <a:defRPr sz="1001"/>
            </a:lvl5pPr>
            <a:lvl6pPr marL="2286029" indent="0">
              <a:buNone/>
              <a:defRPr sz="1001"/>
            </a:lvl6pPr>
            <a:lvl7pPr marL="2743234" indent="0">
              <a:buNone/>
              <a:defRPr sz="1001"/>
            </a:lvl7pPr>
            <a:lvl8pPr marL="3200440" indent="0">
              <a:buNone/>
              <a:defRPr sz="1001"/>
            </a:lvl8pPr>
            <a:lvl9pPr marL="3657646" indent="0">
              <a:buNone/>
              <a:defRPr sz="100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A58B6391-90FB-41AC-B23A-298BCA164D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6B8309-4A61-4DA9-9554-95CAA9B71B31}" type="datetimeFigureOut">
              <a:rPr lang="fr-BE" smtClean="0"/>
              <a:t>10-05-21</a:t>
            </a:fld>
            <a:endParaRPr lang="fr-BE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B25434A-0D26-4FE4-8D29-D79D67F6D9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A10D4C6-091F-4E78-8222-726ECA165B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16AC20-791C-49CE-B0C6-303FA438E7E9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53919894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B403E60-56C0-4C7F-B07C-93D0B95137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2DAF0F24-9143-49AB-AD43-F55644EB74A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C04BDC9-3814-4D04-8DB4-DD7C22E114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6B8309-4A61-4DA9-9554-95CAA9B71B31}" type="datetimeFigureOut">
              <a:rPr lang="fr-BE" smtClean="0"/>
              <a:t>10-05-21</a:t>
            </a:fld>
            <a:endParaRPr lang="fr-BE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6F1CAD0-6350-4D68-ADD5-FAA065C2AB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4151A9EB-DEE1-4753-A15A-D099514D5D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16AC20-791C-49CE-B0C6-303FA438E7E9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713547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DCAB8ED8-2D4F-467D-AC42-9933C76855B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899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E9723FD5-8C15-4EDD-BB53-0BD40D55ED6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199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CCA691C-BE2E-4DE9-9BCB-522F4BA1D6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6B8309-4A61-4DA9-9554-95CAA9B71B31}" type="datetimeFigureOut">
              <a:rPr lang="fr-BE" smtClean="0"/>
              <a:t>10-05-21</a:t>
            </a:fld>
            <a:endParaRPr lang="fr-BE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26CF074-899B-49C6-8DA4-DACF96CDBA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0571F8B-DFEA-4A1F-AC7A-C7A371129A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16AC20-791C-49CE-B0C6-303FA438E7E9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04602286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6350" y="6350"/>
            <a:ext cx="12179935" cy="6845300"/>
          </a:xfrm>
          <a:custGeom>
            <a:avLst/>
            <a:gdLst/>
            <a:ahLst/>
            <a:cxnLst/>
            <a:rect l="l" t="t" r="r" b="b"/>
            <a:pathLst>
              <a:path w="12179935" h="6845300">
                <a:moveTo>
                  <a:pt x="0" y="6845300"/>
                </a:moveTo>
                <a:lnTo>
                  <a:pt x="12179414" y="6845300"/>
                </a:lnTo>
                <a:lnTo>
                  <a:pt x="12179414" y="0"/>
                </a:lnTo>
                <a:lnTo>
                  <a:pt x="0" y="0"/>
                </a:lnTo>
                <a:lnTo>
                  <a:pt x="0" y="6845300"/>
                </a:lnTo>
                <a:close/>
              </a:path>
            </a:pathLst>
          </a:custGeom>
          <a:solidFill>
            <a:srgbClr val="00407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11065533" y="5770909"/>
            <a:ext cx="946580" cy="90709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7000" b="0" i="0">
                <a:solidFill>
                  <a:srgbClr val="A1215C"/>
                </a:solidFill>
                <a:latin typeface="Gotham Book"/>
                <a:cs typeface="Gotham Boo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0/2021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539520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2352363"/>
              </p:ext>
            </p:extLst>
          </p:nvPr>
        </p:nvGraphicFramePr>
        <p:xfrm>
          <a:off x="1921" y="1441"/>
          <a:ext cx="1919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6" imgH="386" progId="TCLayout.ActiveDocument.1">
                  <p:embed/>
                </p:oleObj>
              </mc:Choice>
              <mc:Fallback>
                <p:oleObj name="think-cell Slide" r:id="rId3" imgW="386" imgH="3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21" y="1441"/>
                        <a:ext cx="1919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>
            <a:spLocks/>
          </p:cNvSpPr>
          <p:nvPr userDrawn="1"/>
        </p:nvSpPr>
        <p:spPr bwMode="auto">
          <a:xfrm>
            <a:off x="1" y="-1"/>
            <a:ext cx="12192000" cy="4903124"/>
          </a:xfrm>
          <a:prstGeom prst="rect">
            <a:avLst/>
          </a:prstGeom>
          <a:gradFill>
            <a:gsLst>
              <a:gs pos="19000">
                <a:srgbClr val="9CD2E0"/>
              </a:gs>
              <a:gs pos="51400">
                <a:srgbClr val="DEF0F3"/>
              </a:gs>
              <a:gs pos="0">
                <a:srgbClr val="49BCC8"/>
              </a:gs>
              <a:gs pos="100000">
                <a:srgbClr val="C7E1A1"/>
              </a:gs>
            </a:gsLst>
            <a:lin ang="552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953" tIns="41476" rIns="82953" bIns="41476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07571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fr-FR" sz="1633" b="0" i="0" u="none" strike="noStrike" cap="none" normalizeH="0" baseline="0">
              <a:ln>
                <a:noFill/>
              </a:ln>
              <a:effectLst/>
              <a:latin typeface="Arial" charset="0"/>
              <a:ea typeface="Microsoft YaHei" charset="-122"/>
            </a:endParaRPr>
          </a:p>
        </p:txBody>
      </p:sp>
      <p:sp>
        <p:nvSpPr>
          <p:cNvPr id="6" name="Freeform 5"/>
          <p:cNvSpPr>
            <a:spLocks/>
          </p:cNvSpPr>
          <p:nvPr userDrawn="1"/>
        </p:nvSpPr>
        <p:spPr bwMode="auto">
          <a:xfrm>
            <a:off x="1" y="3571575"/>
            <a:ext cx="12192000" cy="3286425"/>
          </a:xfrm>
          <a:custGeom>
            <a:avLst/>
            <a:gdLst>
              <a:gd name="connsiteX0" fmla="*/ 0 w 10080625"/>
              <a:gd name="connsiteY0" fmla="*/ 0 h 3622675"/>
              <a:gd name="connsiteX1" fmla="*/ 75212 w 10080625"/>
              <a:gd name="connsiteY1" fmla="*/ 0 h 3622675"/>
              <a:gd name="connsiteX2" fmla="*/ 10080622 w 10080625"/>
              <a:gd name="connsiteY2" fmla="*/ 1451232 h 3622675"/>
              <a:gd name="connsiteX3" fmla="*/ 10080622 w 10080625"/>
              <a:gd name="connsiteY3" fmla="*/ 0 h 3622675"/>
              <a:gd name="connsiteX4" fmla="*/ 10080625 w 10080625"/>
              <a:gd name="connsiteY4" fmla="*/ 0 h 3622675"/>
              <a:gd name="connsiteX5" fmla="*/ 10080625 w 10080625"/>
              <a:gd name="connsiteY5" fmla="*/ 2025650 h 3622675"/>
              <a:gd name="connsiteX6" fmla="*/ 2108200 w 10080625"/>
              <a:gd name="connsiteY6" fmla="*/ 3622675 h 3622675"/>
              <a:gd name="connsiteX7" fmla="*/ 0 w 10080625"/>
              <a:gd name="connsiteY7" fmla="*/ 3622675 h 3622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622675">
                <a:moveTo>
                  <a:pt x="0" y="0"/>
                </a:moveTo>
                <a:lnTo>
                  <a:pt x="75212" y="0"/>
                </a:lnTo>
                <a:lnTo>
                  <a:pt x="10080622" y="1451232"/>
                </a:lnTo>
                <a:lnTo>
                  <a:pt x="10080622" y="0"/>
                </a:lnTo>
                <a:lnTo>
                  <a:pt x="10080625" y="0"/>
                </a:lnTo>
                <a:lnTo>
                  <a:pt x="10080625" y="2025650"/>
                </a:lnTo>
                <a:lnTo>
                  <a:pt x="2108200" y="3622675"/>
                </a:lnTo>
                <a:lnTo>
                  <a:pt x="0" y="3622675"/>
                </a:ln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953" tIns="41476" rIns="82953" bIns="41476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07571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fr-FR" sz="1633" b="0" i="0" u="none" strike="noStrike" cap="none" normalizeH="0" baseline="0">
              <a:ln>
                <a:noFill/>
              </a:ln>
              <a:effectLst/>
              <a:latin typeface="Arial" charset="0"/>
              <a:ea typeface="Microsoft YaHei" charset="-122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13921" y="735325"/>
            <a:ext cx="10364160" cy="415440"/>
          </a:xfrm>
        </p:spPr>
        <p:txBody>
          <a:bodyPr/>
          <a:lstStyle>
            <a:lvl1pPr algn="ctr">
              <a:defRPr sz="2903" b="0">
                <a:latin typeface="+mn-lt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829761" y="1312272"/>
            <a:ext cx="8534399" cy="335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ctr">
              <a:defRPr lang="fr-FR" sz="2177" dirty="0">
                <a:solidFill>
                  <a:schemeClr val="accent1"/>
                </a:solidFill>
                <a:latin typeface="+mn-lt"/>
              </a:defRPr>
            </a:lvl1pPr>
          </a:lstStyle>
          <a:p>
            <a:pPr marL="0" lvl="0" indent="0" algn="ctr">
              <a:buNone/>
            </a:pPr>
            <a:r>
              <a:rPr lang="fr-FR"/>
              <a:t>Modifiez le style des sous-titres du masqu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90311FD-030B-5E44-828E-D31BC594B30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3298" y="5214787"/>
            <a:ext cx="1888703" cy="2076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967850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21" y="1441"/>
          <a:ext cx="1919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6" imgH="386" progId="TCLayout.ActiveDocument.1">
                  <p:embed/>
                </p:oleObj>
              </mc:Choice>
              <mc:Fallback>
                <p:oleObj name="think-cell Slide" r:id="rId3" imgW="386" imgH="3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21" y="1441"/>
                        <a:ext cx="1919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>
            <a:spLocks/>
          </p:cNvSpPr>
          <p:nvPr userDrawn="1"/>
        </p:nvSpPr>
        <p:spPr bwMode="auto">
          <a:xfrm>
            <a:off x="1" y="-1"/>
            <a:ext cx="12192000" cy="4903124"/>
          </a:xfrm>
          <a:prstGeom prst="rect">
            <a:avLst/>
          </a:prstGeom>
          <a:gradFill>
            <a:gsLst>
              <a:gs pos="19000">
                <a:srgbClr val="9CD2E0"/>
              </a:gs>
              <a:gs pos="51400">
                <a:srgbClr val="DEF0F3"/>
              </a:gs>
              <a:gs pos="0">
                <a:srgbClr val="49BCC8"/>
              </a:gs>
              <a:gs pos="100000">
                <a:srgbClr val="C7E1A1"/>
              </a:gs>
            </a:gsLst>
            <a:lin ang="552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953" tIns="41476" rIns="82953" bIns="41476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07571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fr-FR" sz="1633" b="0" i="0" u="none" strike="noStrike" cap="none" normalizeH="0" baseline="0">
              <a:ln>
                <a:noFill/>
              </a:ln>
              <a:effectLst/>
              <a:latin typeface="Arial" charset="0"/>
              <a:ea typeface="Microsoft YaHei" charset="-122"/>
            </a:endParaRPr>
          </a:p>
        </p:txBody>
      </p:sp>
      <p:sp>
        <p:nvSpPr>
          <p:cNvPr id="6" name="Freeform 5"/>
          <p:cNvSpPr>
            <a:spLocks/>
          </p:cNvSpPr>
          <p:nvPr userDrawn="1"/>
        </p:nvSpPr>
        <p:spPr bwMode="auto">
          <a:xfrm>
            <a:off x="1" y="3571575"/>
            <a:ext cx="12192000" cy="3286425"/>
          </a:xfrm>
          <a:custGeom>
            <a:avLst/>
            <a:gdLst>
              <a:gd name="connsiteX0" fmla="*/ 0 w 10080625"/>
              <a:gd name="connsiteY0" fmla="*/ 0 h 3622675"/>
              <a:gd name="connsiteX1" fmla="*/ 75212 w 10080625"/>
              <a:gd name="connsiteY1" fmla="*/ 0 h 3622675"/>
              <a:gd name="connsiteX2" fmla="*/ 10080622 w 10080625"/>
              <a:gd name="connsiteY2" fmla="*/ 1451232 h 3622675"/>
              <a:gd name="connsiteX3" fmla="*/ 10080622 w 10080625"/>
              <a:gd name="connsiteY3" fmla="*/ 0 h 3622675"/>
              <a:gd name="connsiteX4" fmla="*/ 10080625 w 10080625"/>
              <a:gd name="connsiteY4" fmla="*/ 0 h 3622675"/>
              <a:gd name="connsiteX5" fmla="*/ 10080625 w 10080625"/>
              <a:gd name="connsiteY5" fmla="*/ 2025650 h 3622675"/>
              <a:gd name="connsiteX6" fmla="*/ 2108200 w 10080625"/>
              <a:gd name="connsiteY6" fmla="*/ 3622675 h 3622675"/>
              <a:gd name="connsiteX7" fmla="*/ 0 w 10080625"/>
              <a:gd name="connsiteY7" fmla="*/ 3622675 h 3622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3622675">
                <a:moveTo>
                  <a:pt x="0" y="0"/>
                </a:moveTo>
                <a:lnTo>
                  <a:pt x="75212" y="0"/>
                </a:lnTo>
                <a:lnTo>
                  <a:pt x="10080622" y="1451232"/>
                </a:lnTo>
                <a:lnTo>
                  <a:pt x="10080622" y="0"/>
                </a:lnTo>
                <a:lnTo>
                  <a:pt x="10080625" y="0"/>
                </a:lnTo>
                <a:lnTo>
                  <a:pt x="10080625" y="2025650"/>
                </a:lnTo>
                <a:lnTo>
                  <a:pt x="2108200" y="3622675"/>
                </a:lnTo>
                <a:lnTo>
                  <a:pt x="0" y="3622675"/>
                </a:ln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953" tIns="41476" rIns="82953" bIns="41476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07571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fr-FR" sz="1633" b="0" i="0" u="none" strike="noStrike" cap="none" normalizeH="0" baseline="0">
              <a:ln>
                <a:noFill/>
              </a:ln>
              <a:effectLst/>
              <a:latin typeface="Arial" charset="0"/>
              <a:ea typeface="Microsoft YaHei" charset="-122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13921" y="735325"/>
            <a:ext cx="10364160" cy="415440"/>
          </a:xfrm>
        </p:spPr>
        <p:txBody>
          <a:bodyPr/>
          <a:lstStyle>
            <a:lvl1pPr algn="ctr">
              <a:defRPr sz="2903" b="0">
                <a:latin typeface="+mn-lt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829761" y="1312272"/>
            <a:ext cx="8534399" cy="335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ctr">
              <a:defRPr lang="fr-FR" sz="2177" dirty="0">
                <a:solidFill>
                  <a:schemeClr val="accent1"/>
                </a:solidFill>
                <a:latin typeface="+mn-lt"/>
              </a:defRPr>
            </a:lvl1pPr>
          </a:lstStyle>
          <a:p>
            <a:pPr marL="0" lvl="0" indent="0" algn="ctr">
              <a:buNone/>
            </a:pPr>
            <a:r>
              <a:rPr lang="fr-FR"/>
              <a:t>Modifiez le style des sous-titres du masque</a:t>
            </a:r>
          </a:p>
        </p:txBody>
      </p:sp>
      <p:pic>
        <p:nvPicPr>
          <p:cNvPr id="10" name="Picture 9" descr="RENOWATT_bleu_transparent 3.png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193" t="79972" r="3092" b="1723"/>
          <a:stretch/>
        </p:blipFill>
        <p:spPr>
          <a:xfrm>
            <a:off x="9899131" y="5829732"/>
            <a:ext cx="1750004" cy="75608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4559" y="1362025"/>
            <a:ext cx="7802880" cy="3346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5832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13921" y="1041230"/>
            <a:ext cx="10364160" cy="415440"/>
          </a:xfrm>
        </p:spPr>
        <p:txBody>
          <a:bodyPr/>
          <a:lstStyle>
            <a:lvl1pPr algn="ctr">
              <a:defRPr sz="2903" b="1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829761" y="2113229"/>
            <a:ext cx="8534399" cy="335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ctr">
              <a:defRPr lang="fr-FR" sz="2177" dirty="0">
                <a:solidFill>
                  <a:schemeClr val="bg2"/>
                </a:solidFill>
              </a:defRPr>
            </a:lvl1pPr>
          </a:lstStyle>
          <a:p>
            <a:pPr marL="0" lvl="0" indent="0" algn="ctr">
              <a:buNone/>
            </a:pPr>
            <a:r>
              <a:rPr lang="fr-FR"/>
              <a:t>Modifiez le style des sous-titres du masque</a:t>
            </a:r>
          </a:p>
        </p:txBody>
      </p:sp>
      <p:pic>
        <p:nvPicPr>
          <p:cNvPr id="7" name="Picture 6" descr="RENOWATT_bleu_transparent 3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1226" y="2690203"/>
            <a:ext cx="2789549" cy="2549068"/>
          </a:xfrm>
          <a:prstGeom prst="rect">
            <a:avLst/>
          </a:prstGeom>
        </p:spPr>
      </p:pic>
      <p:pic>
        <p:nvPicPr>
          <p:cNvPr id="8" name="Picture 7" descr="RENOWATT_bleu_transparent 3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435"/>
          <a:stretch/>
        </p:blipFill>
        <p:spPr>
          <a:xfrm>
            <a:off x="2796586" y="4804345"/>
            <a:ext cx="2789549" cy="2053656"/>
          </a:xfrm>
          <a:prstGeom prst="rect">
            <a:avLst/>
          </a:prstGeom>
        </p:spPr>
      </p:pic>
      <p:pic>
        <p:nvPicPr>
          <p:cNvPr id="9" name="Picture 8" descr="RENOWATT_bleu_transparent 3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193" t="79972" r="3092" b="1723"/>
          <a:stretch/>
        </p:blipFill>
        <p:spPr>
          <a:xfrm>
            <a:off x="9619200" y="5923341"/>
            <a:ext cx="1080002" cy="466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803967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877759" y="373287"/>
            <a:ext cx="9966643" cy="285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fr-FR" sz="1996" noProof="0" smtClean="0"/>
            </a:lvl1pPr>
          </a:lstStyle>
          <a:p>
            <a:pPr lvl="0"/>
            <a:r>
              <a:rPr lang="fr-FR" noProof="0"/>
              <a:t>Click to </a:t>
            </a:r>
            <a:r>
              <a:rPr lang="fr-FR" noProof="0" err="1"/>
              <a:t>edit</a:t>
            </a:r>
            <a:r>
              <a:rPr lang="fr-FR" noProof="0"/>
              <a:t> Master </a:t>
            </a:r>
            <a:r>
              <a:rPr lang="fr-FR" noProof="0" err="1"/>
              <a:t>title</a:t>
            </a:r>
            <a:r>
              <a:rPr lang="fr-FR" noProof="0"/>
              <a:t> style</a:t>
            </a:r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11671680" y="6567089"/>
            <a:ext cx="252480" cy="13825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fr-FR" sz="998" smtClean="0"/>
              <a:pPr lvl="0"/>
              <a:t>‹N°›</a:t>
            </a:fld>
            <a:endParaRPr lang="fr-FR" sz="998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973ECCC-D052-3546-A552-D2751506E3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199" y="165129"/>
            <a:ext cx="1340021" cy="98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38569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309478" y="373287"/>
            <a:ext cx="11573046" cy="285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fr-FR" sz="1996" noProof="0" smtClean="0"/>
            </a:lvl1pPr>
          </a:lstStyle>
          <a:p>
            <a:pPr lvl="0"/>
            <a:r>
              <a:rPr lang="fr-FR" noProof="0"/>
              <a:t>Click to </a:t>
            </a:r>
            <a:r>
              <a:rPr lang="fr-FR" noProof="0" err="1"/>
              <a:t>edit</a:t>
            </a:r>
            <a:r>
              <a:rPr lang="fr-FR" noProof="0"/>
              <a:t> Master </a:t>
            </a:r>
            <a:r>
              <a:rPr lang="fr-FR" noProof="0" err="1"/>
              <a:t>title</a:t>
            </a:r>
            <a:r>
              <a:rPr lang="fr-FR" noProof="0"/>
              <a:t> style</a:t>
            </a:r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11671680" y="6567089"/>
            <a:ext cx="252480" cy="13825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fr-FR" sz="998" smtClean="0"/>
              <a:pPr lvl="0"/>
              <a:t>‹N°›</a:t>
            </a:fld>
            <a:endParaRPr lang="fr-FR" sz="998"/>
          </a:p>
        </p:txBody>
      </p:sp>
    </p:spTree>
    <p:extLst>
      <p:ext uri="{BB962C8B-B14F-4D97-AF65-F5344CB8AC3E}">
        <p14:creationId xmlns:p14="http://schemas.microsoft.com/office/powerpoint/2010/main" val="76645452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17A44-7956-40EE-9F61-4FF85A216B67}" type="datetimeFigureOut">
              <a:rPr lang="fr-FR" smtClean="0"/>
              <a:t>10/05/2021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81585F-E941-49B9-BE17-303319E6D4F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499919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B76B10F-98B5-4335-B22C-02F5DB3008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1B0469F-9A31-4272-A9FA-66340CD67FA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22C6D47-0009-4FCA-AD3F-1FACFF492E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07BD4D-8557-4286-ABA5-464BC9F2E553}" type="datetimeFigureOut">
              <a:rPr lang="fr-BE" smtClean="0"/>
              <a:t>10-05-21</a:t>
            </a:fld>
            <a:endParaRPr lang="fr-BE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A4F73EC-F3C9-4875-82A6-DA284A8DE3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08E421B-084A-4ACE-BA67-1AB5823D05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3455D1-AF87-4436-A29B-834EF68F90D6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1873686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intermédi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Z:\11 Administratif - Communication MANEXI\Plaquette présentation - logo\Logo et déclinaisons\Hélice seule\Hélice 2010 (à favoriser) fond trans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98" y="6275413"/>
            <a:ext cx="663504" cy="527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Espace réservé du texte 14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2880784" cy="332656"/>
          </a:xfrm>
        </p:spPr>
        <p:txBody>
          <a:bodyPr lIns="180000" anchor="ctr" anchorCtr="0">
            <a:normAutofit/>
          </a:bodyPr>
          <a:lstStyle>
            <a:lvl1pPr marL="342903" marR="0" indent="-342903" algn="l" defTabSz="9144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ScriptS" pitchFamily="2" charset="0"/>
                <a:cs typeface="ScriptS" pitchFamily="2" charset="0"/>
              </a:defRPr>
            </a:lvl1pPr>
          </a:lstStyle>
          <a:p>
            <a:pPr marL="342903" marR="0" lvl="0" indent="-342903" algn="l" defTabSz="91440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+mn-cs"/>
              </a:rPr>
              <a:t>Nom du Client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E21195-2012-464C-82BB-7F2F54180669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228138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6924E3A-F79F-4370-A8A7-D94BF888F3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DA92D7B-FD22-4CA6-93B8-C99851A081A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77540ABC-9FC6-4006-86BF-ADBAF61792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C353C16-D75D-40A6-B88F-3CD65A692A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07BD4D-8557-4286-ABA5-464BC9F2E553}" type="datetimeFigureOut">
              <a:rPr lang="fr-BE" smtClean="0"/>
              <a:t>10-05-21</a:t>
            </a:fld>
            <a:endParaRPr lang="fr-BE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A059F445-D1C3-49E3-B984-6E3FA93F43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8BA7A876-E061-498B-9981-46C3A8C6F5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3455D1-AF87-4436-A29B-834EF68F90D6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1601481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C0659F9-020D-4001-B336-D78FDA13CE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F165A6EF-13BE-4F0B-AE78-3CD3D71383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066C59B9-C0C7-41F6-B810-BFC16991306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9033B06C-A691-4FDB-ADA6-54F6B024B7C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576C9AED-DC47-44D3-8767-D657213D316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533EA27B-040E-4597-AFB7-0D4E0A0756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07BD4D-8557-4286-ABA5-464BC9F2E553}" type="datetimeFigureOut">
              <a:rPr lang="fr-BE" smtClean="0"/>
              <a:t>10-05-21</a:t>
            </a:fld>
            <a:endParaRPr lang="fr-BE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785DF842-2EB8-4986-A03C-57E914B737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B5DC8BB0-D551-4EFF-A265-EDA8C12E2E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3455D1-AF87-4436-A29B-834EF68F90D6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9692532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8D15686-70D3-4DC8-B29D-78989EC3EC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FC997391-0882-4F95-9ECA-6B7AE7389F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07BD4D-8557-4286-ABA5-464BC9F2E553}" type="datetimeFigureOut">
              <a:rPr lang="fr-BE" smtClean="0"/>
              <a:t>10-05-21</a:t>
            </a:fld>
            <a:endParaRPr lang="fr-BE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388929B-F2D2-43F1-86DC-63D2E7B833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06B1709E-002C-45EC-861B-426C0F0A74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3455D1-AF87-4436-A29B-834EF68F90D6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8173627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2501B9EE-28A8-497A-A014-69F8CF4FF7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07BD4D-8557-4286-ABA5-464BC9F2E553}" type="datetimeFigureOut">
              <a:rPr lang="fr-BE" smtClean="0"/>
              <a:t>10-05-21</a:t>
            </a:fld>
            <a:endParaRPr lang="fr-BE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46866EC0-7A02-408C-929E-9C28018F7D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81D02B5D-7500-4495-AE42-BAF83750C0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3455D1-AF87-4436-A29B-834EF68F90D6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806672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AEE7C78-A9EA-4929-9269-294B834885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6ECDBEA-D8EC-411A-8596-2E237F2B7D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15ECAC20-24C2-45A5-8449-2B57F9936EA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E6D41247-7B0A-4BF8-86F7-0F64DE8E9F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07BD4D-8557-4286-ABA5-464BC9F2E553}" type="datetimeFigureOut">
              <a:rPr lang="fr-BE" smtClean="0"/>
              <a:t>10-05-21</a:t>
            </a:fld>
            <a:endParaRPr lang="fr-BE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3BEA4252-2E09-42CF-997F-657719E8D9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08D86FC3-4463-4287-8039-E9D03DE497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3455D1-AF87-4436-A29B-834EF68F90D6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1477376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220C65C-C4E4-4E43-B3A3-9C4E1C9DAE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E3D2CA97-A2A8-44F4-B9A1-A6CEF525CEC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BE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952383D-D670-4F49-82CE-A11BFA2779E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B4C549E3-9447-4E64-9F57-8B20987189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07BD4D-8557-4286-ABA5-464BC9F2E553}" type="datetimeFigureOut">
              <a:rPr lang="fr-BE" smtClean="0"/>
              <a:t>10-05-21</a:t>
            </a:fld>
            <a:endParaRPr lang="fr-BE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89DAFD01-4FF1-4AE6-B8AA-1F157BED29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8732D5BC-92ED-41BB-AFBD-365ED93791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3455D1-AF87-4436-A29B-834EF68F90D6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2581102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28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27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0E2006B0-F6BD-4D3C-85D6-D636EAE5E7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381ECE0-3EC3-4300-8B57-33E8D914BA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6F4331B-2FE1-465E-8F2A-69EB40CF97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07BD4D-8557-4286-ABA5-464BC9F2E553}" type="datetimeFigureOut">
              <a:rPr lang="fr-BE" smtClean="0"/>
              <a:t>10-05-21</a:t>
            </a:fld>
            <a:endParaRPr lang="fr-BE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3ADB027-7DD0-45FD-8B6E-9B7FF8C06A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BE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3F750AF-7BD8-4E45-89B3-91206367AE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3455D1-AF87-4436-A29B-834EF68F90D6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70994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2EF07FAE-1265-40EF-BE22-45A60D051C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2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73CA437-0DC3-451C-B2A7-33A28723C2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2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7A8971E3-20D3-48BA-8A7A-E944C448470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6B8309-4A61-4DA9-9554-95CAA9B71B31}" type="datetimeFigureOut">
              <a:rPr lang="fr-BE" smtClean="0"/>
              <a:t>10-05-21</a:t>
            </a:fld>
            <a:endParaRPr lang="fr-BE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6308B8B-BCBE-480A-9085-B212FC0D6D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2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BE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4ABAD9C-4F71-4FAB-88FB-3AA870412E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1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16AC20-791C-49CE-B0C6-303FA438E7E9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235924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11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4" indent="-228604" algn="l" defTabSz="914411" rtl="0" eaLnBrk="1" latinLnBrk="0" hangingPunct="1">
        <a:lnSpc>
          <a:spcPct val="90000"/>
        </a:lnSpc>
        <a:spcBef>
          <a:spcPts val="1001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9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15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21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2057427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32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838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044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249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6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11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7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3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9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34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40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46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82861271"/>
              </p:ext>
            </p:extLst>
          </p:nvPr>
        </p:nvGraphicFramePr>
        <p:xfrm>
          <a:off x="1921" y="1441"/>
          <a:ext cx="1919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921" y="1441"/>
                        <a:ext cx="1919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1877760" y="373287"/>
            <a:ext cx="9970945" cy="285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/>
              <a:t>Cliquez pour éditer le format du texte-titre</a:t>
            </a:r>
          </a:p>
        </p:txBody>
      </p:sp>
      <p:sp>
        <p:nvSpPr>
          <p:cNvPr id="2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608641" y="6247376"/>
            <a:ext cx="2837760" cy="4709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95000"/>
              </a:lnSpc>
              <a:buFont typeface="Times New Roman" pitchFamily="16" charset="0"/>
              <a:buNone/>
              <a:tabLst>
                <a:tab pos="656722" algn="l"/>
                <a:tab pos="1313444" algn="l"/>
                <a:tab pos="1970166" algn="l"/>
              </a:tabLst>
              <a:defRPr sz="1270">
                <a:solidFill>
                  <a:srgbClr val="000000"/>
                </a:solidFill>
                <a:latin typeface="Times New Roman" pitchFamily="16" charset="0"/>
                <a:ea typeface="Microsoft YaHei" charset="-122"/>
                <a:cs typeface="Arial Unicode MS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ftr"/>
          </p:nvPr>
        </p:nvSpPr>
        <p:spPr bwMode="auto">
          <a:xfrm>
            <a:off x="4170240" y="6247376"/>
            <a:ext cx="3863040" cy="4709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lnSpc>
                <a:spcPct val="95000"/>
              </a:lnSpc>
              <a:buFont typeface="Times New Roman" pitchFamily="16" charset="0"/>
              <a:buNone/>
              <a:tabLst>
                <a:tab pos="656722" algn="l"/>
                <a:tab pos="1313444" algn="l"/>
                <a:tab pos="1970166" algn="l"/>
                <a:tab pos="2626888" algn="l"/>
              </a:tabLst>
              <a:defRPr sz="1270">
                <a:solidFill>
                  <a:srgbClr val="000000"/>
                </a:solidFill>
                <a:latin typeface="Times New Roman" pitchFamily="16" charset="0"/>
                <a:ea typeface="Microsoft YaHei" charset="-122"/>
                <a:cs typeface="Arial Unicode MS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sldNum"/>
          </p:nvPr>
        </p:nvSpPr>
        <p:spPr bwMode="auto">
          <a:xfrm>
            <a:off x="8741761" y="6247376"/>
            <a:ext cx="2837760" cy="4709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95000"/>
              </a:lnSpc>
              <a:tabLst>
                <a:tab pos="656722" algn="l"/>
                <a:tab pos="1313444" algn="l"/>
                <a:tab pos="1970166" algn="l"/>
              </a:tabLst>
              <a:defRPr sz="1270">
                <a:solidFill>
                  <a:srgbClr val="000000"/>
                </a:solidFill>
                <a:latin typeface="Times New Roman" pitchFamily="18" charset="0"/>
              </a:defRPr>
            </a:lvl1pPr>
          </a:lstStyle>
          <a:p>
            <a:fld id="{AB77CFD1-7174-4B21-B231-778C1CF6A270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7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56801" y="1769946"/>
            <a:ext cx="5203200" cy="1116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noProof="0"/>
              <a:t>Click to </a:t>
            </a:r>
            <a:r>
              <a:rPr lang="fr-FR" noProof="0" err="1"/>
              <a:t>edit</a:t>
            </a:r>
            <a:r>
              <a:rPr lang="fr-FR" noProof="0"/>
              <a:t> Master </a:t>
            </a:r>
            <a:r>
              <a:rPr lang="fr-FR" noProof="0" err="1"/>
              <a:t>text</a:t>
            </a:r>
            <a:r>
              <a:rPr lang="fr-FR" noProof="0"/>
              <a:t> styles</a:t>
            </a:r>
          </a:p>
          <a:p>
            <a:pPr lvl="1"/>
            <a:r>
              <a:rPr lang="fr-FR" noProof="0"/>
              <a:t>Second </a:t>
            </a:r>
            <a:r>
              <a:rPr lang="fr-FR" noProof="0" err="1"/>
              <a:t>level</a:t>
            </a:r>
            <a:endParaRPr lang="fr-FR" noProof="0"/>
          </a:p>
          <a:p>
            <a:pPr lvl="2"/>
            <a:r>
              <a:rPr lang="fr-FR" noProof="0" err="1"/>
              <a:t>Third</a:t>
            </a:r>
            <a:r>
              <a:rPr lang="fr-FR" noProof="0"/>
              <a:t> </a:t>
            </a:r>
            <a:r>
              <a:rPr lang="fr-FR" noProof="0" err="1"/>
              <a:t>level</a:t>
            </a:r>
            <a:endParaRPr lang="fr-FR" noProof="0"/>
          </a:p>
          <a:p>
            <a:pPr lvl="3"/>
            <a:r>
              <a:rPr lang="fr-FR" noProof="0" err="1"/>
              <a:t>Fourth</a:t>
            </a:r>
            <a:r>
              <a:rPr lang="fr-FR" noProof="0"/>
              <a:t> </a:t>
            </a:r>
            <a:r>
              <a:rPr lang="fr-FR" noProof="0" err="1"/>
              <a:t>level</a:t>
            </a:r>
            <a:endParaRPr lang="fr-FR" noProof="0"/>
          </a:p>
          <a:p>
            <a:pPr lvl="4"/>
            <a:r>
              <a:rPr lang="fr-FR" noProof="0" err="1"/>
              <a:t>Fifth</a:t>
            </a:r>
            <a:r>
              <a:rPr lang="fr-FR" noProof="0"/>
              <a:t> </a:t>
            </a:r>
            <a:r>
              <a:rPr lang="fr-FR" noProof="0" err="1"/>
              <a:t>level</a:t>
            </a:r>
            <a:endParaRPr lang="fr-FR" noProof="0"/>
          </a:p>
        </p:txBody>
      </p:sp>
    </p:spTree>
    <p:extLst>
      <p:ext uri="{BB962C8B-B14F-4D97-AF65-F5344CB8AC3E}">
        <p14:creationId xmlns:p14="http://schemas.microsoft.com/office/powerpoint/2010/main" val="927414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</p:sldLayoutIdLst>
  <p:txStyles>
    <p:titleStyle>
      <a:lvl1pPr algn="l" defTabSz="407571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1996" b="0">
          <a:solidFill>
            <a:schemeClr val="accent1"/>
          </a:solidFill>
          <a:latin typeface="+mj-lt"/>
          <a:ea typeface="Tahoma" panose="020B0604030504040204" pitchFamily="34" charset="0"/>
          <a:cs typeface="Tahoma" panose="020B0604030504040204" pitchFamily="34" charset="0"/>
        </a:defRPr>
      </a:lvl1pPr>
      <a:lvl2pPr algn="ctr" defTabSz="407571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3992">
          <a:solidFill>
            <a:srgbClr val="000000"/>
          </a:solidFill>
          <a:latin typeface="Arial" charset="0"/>
          <a:ea typeface="ＭＳ Ｐゴシック" charset="0"/>
          <a:cs typeface="Microsoft YaHei" charset="0"/>
        </a:defRPr>
      </a:lvl2pPr>
      <a:lvl3pPr algn="ctr" defTabSz="407571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3992">
          <a:solidFill>
            <a:srgbClr val="000000"/>
          </a:solidFill>
          <a:latin typeface="Arial" charset="0"/>
          <a:ea typeface="ＭＳ Ｐゴシック" charset="0"/>
          <a:cs typeface="Microsoft YaHei" charset="0"/>
        </a:defRPr>
      </a:lvl3pPr>
      <a:lvl4pPr algn="ctr" defTabSz="407571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3992">
          <a:solidFill>
            <a:srgbClr val="000000"/>
          </a:solidFill>
          <a:latin typeface="Arial" charset="0"/>
          <a:ea typeface="ＭＳ Ｐゴシック" charset="0"/>
          <a:cs typeface="Microsoft YaHei" charset="0"/>
        </a:defRPr>
      </a:lvl4pPr>
      <a:lvl5pPr algn="ctr" defTabSz="407571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3992">
          <a:solidFill>
            <a:srgbClr val="000000"/>
          </a:solidFill>
          <a:latin typeface="Arial" charset="0"/>
          <a:ea typeface="ＭＳ Ｐゴシック" charset="0"/>
          <a:cs typeface="Microsoft YaHei" charset="0"/>
        </a:defRPr>
      </a:lvl5pPr>
      <a:lvl6pPr marL="2281245" indent="-207386" algn="ctr" defTabSz="407571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992">
          <a:solidFill>
            <a:srgbClr val="000000"/>
          </a:solidFill>
          <a:latin typeface="Arial" charset="0"/>
          <a:ea typeface="Microsoft YaHei" charset="-122"/>
        </a:defRPr>
      </a:lvl6pPr>
      <a:lvl7pPr marL="2696017" indent="-207386" algn="ctr" defTabSz="407571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992">
          <a:solidFill>
            <a:srgbClr val="000000"/>
          </a:solidFill>
          <a:latin typeface="Arial" charset="0"/>
          <a:ea typeface="Microsoft YaHei" charset="-122"/>
        </a:defRPr>
      </a:lvl7pPr>
      <a:lvl8pPr marL="3110789" indent="-207386" algn="ctr" defTabSz="407571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992">
          <a:solidFill>
            <a:srgbClr val="000000"/>
          </a:solidFill>
          <a:latin typeface="Arial" charset="0"/>
          <a:ea typeface="Microsoft YaHei" charset="-122"/>
        </a:defRPr>
      </a:lvl8pPr>
      <a:lvl9pPr marL="3525561" indent="-207386" algn="ctr" defTabSz="407571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992">
          <a:solidFill>
            <a:srgbClr val="000000"/>
          </a:solidFill>
          <a:latin typeface="Arial" charset="0"/>
          <a:ea typeface="Microsoft YaHei" charset="-122"/>
        </a:defRPr>
      </a:lvl9pPr>
    </p:titleStyle>
    <p:bodyStyle>
      <a:lvl1pPr marL="311079" indent="-311079" algn="l" defTabSz="407571" rtl="0" eaLnBrk="0" fontAlgn="base" hangingPunct="0">
        <a:lnSpc>
          <a:spcPct val="100000"/>
        </a:lnSpc>
        <a:spcBef>
          <a:spcPct val="0"/>
        </a:spcBef>
        <a:spcAft>
          <a:spcPts val="0"/>
        </a:spcAft>
        <a:buClr>
          <a:srgbClr val="000000"/>
        </a:buClr>
        <a:buSzPct val="100000"/>
        <a:buFont typeface="Times New Roman" pitchFamily="18" charset="0"/>
        <a:defRPr lang="fr-FR" sz="1452" baseline="0" smtClean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84343" indent="-184343" algn="l" defTabSz="407571" rtl="0" eaLnBrk="0" fontAlgn="base" hangingPunct="0">
        <a:lnSpc>
          <a:spcPct val="100000"/>
        </a:lnSpc>
        <a:spcBef>
          <a:spcPct val="0"/>
        </a:spcBef>
        <a:spcAft>
          <a:spcPts val="0"/>
        </a:spcAft>
        <a:buClr>
          <a:schemeClr val="accent4"/>
        </a:buClr>
        <a:buSzPct val="120000"/>
        <a:buFont typeface="Arial" pitchFamily="34" charset="0"/>
        <a:buChar char="▪"/>
        <a:defRPr lang="fr-FR" sz="1452" baseline="0" smtClean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07571" indent="-210266" algn="l" defTabSz="407571" rtl="0" eaLnBrk="0" fontAlgn="base" hangingPunct="0">
        <a:lnSpc>
          <a:spcPct val="100000"/>
        </a:lnSpc>
        <a:spcBef>
          <a:spcPct val="0"/>
        </a:spcBef>
        <a:spcAft>
          <a:spcPts val="0"/>
        </a:spcAft>
        <a:buClr>
          <a:schemeClr val="accent4"/>
        </a:buClr>
        <a:buSzPct val="100000"/>
        <a:buFont typeface="Arial" pitchFamily="34" charset="0"/>
        <a:buChar char="‒"/>
        <a:defRPr lang="fr-FR" sz="1452" baseline="0" smtClean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9277" indent="-211707" algn="l" defTabSz="407571" rtl="0" eaLnBrk="0" fontAlgn="base" hangingPunct="0">
        <a:lnSpc>
          <a:spcPct val="100000"/>
        </a:lnSpc>
        <a:spcBef>
          <a:spcPct val="0"/>
        </a:spcBef>
        <a:spcAft>
          <a:spcPts val="0"/>
        </a:spcAft>
        <a:buClr>
          <a:schemeClr val="accent4"/>
        </a:buClr>
        <a:buSzPct val="100000"/>
        <a:buFont typeface="Wingdings" pitchFamily="2" charset="2"/>
        <a:buChar char=""/>
        <a:defRPr lang="fr-FR" sz="1452" baseline="0" smtClean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855467" indent="-223228" algn="l" defTabSz="407571" rtl="0" eaLnBrk="0" fontAlgn="base" hangingPunct="0">
        <a:lnSpc>
          <a:spcPct val="100000"/>
        </a:lnSpc>
        <a:spcBef>
          <a:spcPct val="0"/>
        </a:spcBef>
        <a:spcAft>
          <a:spcPts val="0"/>
        </a:spcAft>
        <a:buClr>
          <a:schemeClr val="accent4"/>
        </a:buClr>
        <a:buSzPct val="100000"/>
        <a:buFont typeface="Arial" pitchFamily="34" charset="0"/>
        <a:buChar char="-"/>
        <a:defRPr lang="fr-FR" sz="1452" baseline="0" smtClean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2281245" indent="-207386" algn="l" defTabSz="407571" rtl="0" fontAlgn="base" hangingPunct="0">
        <a:lnSpc>
          <a:spcPct val="93000"/>
        </a:lnSpc>
        <a:spcBef>
          <a:spcPct val="0"/>
        </a:spcBef>
        <a:spcAft>
          <a:spcPts val="261"/>
        </a:spcAft>
        <a:buClr>
          <a:srgbClr val="000000"/>
        </a:buClr>
        <a:buSzPct val="100000"/>
        <a:buFont typeface="Times New Roman" pitchFamily="16" charset="0"/>
        <a:defRPr sz="1814">
          <a:solidFill>
            <a:srgbClr val="000000"/>
          </a:solidFill>
          <a:latin typeface="+mn-lt"/>
          <a:ea typeface="+mn-ea"/>
        </a:defRPr>
      </a:lvl6pPr>
      <a:lvl7pPr marL="2696017" indent="-207386" algn="l" defTabSz="407571" rtl="0" fontAlgn="base" hangingPunct="0">
        <a:lnSpc>
          <a:spcPct val="93000"/>
        </a:lnSpc>
        <a:spcBef>
          <a:spcPct val="0"/>
        </a:spcBef>
        <a:spcAft>
          <a:spcPts val="261"/>
        </a:spcAft>
        <a:buClr>
          <a:srgbClr val="000000"/>
        </a:buClr>
        <a:buSzPct val="100000"/>
        <a:buFont typeface="Times New Roman" pitchFamily="16" charset="0"/>
        <a:defRPr sz="1814">
          <a:solidFill>
            <a:srgbClr val="000000"/>
          </a:solidFill>
          <a:latin typeface="+mn-lt"/>
          <a:ea typeface="+mn-ea"/>
        </a:defRPr>
      </a:lvl7pPr>
      <a:lvl8pPr marL="3110789" indent="-207386" algn="l" defTabSz="407571" rtl="0" fontAlgn="base" hangingPunct="0">
        <a:lnSpc>
          <a:spcPct val="93000"/>
        </a:lnSpc>
        <a:spcBef>
          <a:spcPct val="0"/>
        </a:spcBef>
        <a:spcAft>
          <a:spcPts val="261"/>
        </a:spcAft>
        <a:buClr>
          <a:srgbClr val="000000"/>
        </a:buClr>
        <a:buSzPct val="100000"/>
        <a:buFont typeface="Times New Roman" pitchFamily="16" charset="0"/>
        <a:defRPr sz="1814">
          <a:solidFill>
            <a:srgbClr val="000000"/>
          </a:solidFill>
          <a:latin typeface="+mn-lt"/>
          <a:ea typeface="+mn-ea"/>
        </a:defRPr>
      </a:lvl8pPr>
      <a:lvl9pPr marL="3525561" indent="-207386" algn="l" defTabSz="407571" rtl="0" fontAlgn="base" hangingPunct="0">
        <a:lnSpc>
          <a:spcPct val="93000"/>
        </a:lnSpc>
        <a:spcBef>
          <a:spcPct val="0"/>
        </a:spcBef>
        <a:spcAft>
          <a:spcPts val="261"/>
        </a:spcAft>
        <a:buClr>
          <a:srgbClr val="000000"/>
        </a:buClr>
        <a:buSzPct val="100000"/>
        <a:buFont typeface="Times New Roman" pitchFamily="16" charset="0"/>
        <a:defRPr sz="1814">
          <a:solidFill>
            <a:srgbClr val="000000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1pPr>
      <a:lvl2pPr marL="414772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2pPr>
      <a:lvl3pPr marL="829544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3pPr>
      <a:lvl4pPr marL="1244316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4pPr>
      <a:lvl5pPr marL="1659087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5pPr>
      <a:lvl6pPr marL="2073859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6pPr>
      <a:lvl7pPr marL="2488631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7pPr>
      <a:lvl8pPr marL="2903403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8pPr>
      <a:lvl9pPr marL="3318175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jpg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png"/><Relationship Id="rId4" Type="http://schemas.openxmlformats.org/officeDocument/2006/relationships/image" Target="../media/image26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Covenant of Mayors Investment Forum - Energy Efficiency Finance Market Place  | Smart Cities Marketplace">
            <a:extLst>
              <a:ext uri="{FF2B5EF4-FFF2-40B4-BE49-F238E27FC236}">
                <a16:creationId xmlns:a16="http://schemas.microsoft.com/office/drawing/2014/main" id="{73C309CB-6C25-4B5D-92A9-61D6BD2DB64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22" t="23843" r="30862" b="52970"/>
          <a:stretch/>
        </p:blipFill>
        <p:spPr bwMode="auto">
          <a:xfrm>
            <a:off x="6454502" y="4523190"/>
            <a:ext cx="5606630" cy="13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European Commission: A European approach to micro-credentials — ICDE">
            <a:extLst>
              <a:ext uri="{FF2B5EF4-FFF2-40B4-BE49-F238E27FC236}">
                <a16:creationId xmlns:a16="http://schemas.microsoft.com/office/drawing/2014/main" id="{2B632C0A-08CC-40BF-9299-7CAD4FC1AB7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85" t="32846" r="19124" b="33911"/>
          <a:stretch/>
        </p:blipFill>
        <p:spPr bwMode="auto">
          <a:xfrm>
            <a:off x="6583812" y="1111756"/>
            <a:ext cx="5593789" cy="14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Ellipse 1">
            <a:extLst>
              <a:ext uri="{FF2B5EF4-FFF2-40B4-BE49-F238E27FC236}">
                <a16:creationId xmlns:a16="http://schemas.microsoft.com/office/drawing/2014/main" id="{79AEF44A-67B6-45F8-A168-3A67A8C60D08}"/>
              </a:ext>
            </a:extLst>
          </p:cNvPr>
          <p:cNvSpPr/>
          <p:nvPr/>
        </p:nvSpPr>
        <p:spPr>
          <a:xfrm>
            <a:off x="-422329" y="-58366"/>
            <a:ext cx="7101192" cy="6974732"/>
          </a:xfrm>
          <a:prstGeom prst="ellipse">
            <a:avLst/>
          </a:prstGeom>
          <a:solidFill>
            <a:schemeClr val="bg1"/>
          </a:solidFill>
          <a:ln w="28575">
            <a:solidFill>
              <a:srgbClr val="01407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B0F9196-6368-4A9F-A0B3-4A12A97C4382}"/>
              </a:ext>
            </a:extLst>
          </p:cNvPr>
          <p:cNvSpPr/>
          <p:nvPr/>
        </p:nvSpPr>
        <p:spPr>
          <a:xfrm>
            <a:off x="-1265846" y="-141402"/>
            <a:ext cx="4732256" cy="81541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134F4B47-3594-4BF9-A964-82C7A88BF14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525" y="909000"/>
            <a:ext cx="5040000" cy="5040000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DC00CC7D-D098-40C4-AE68-E14E28C93A8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943"/>
            <a:ext cx="2412917" cy="1080000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69C36CB5-93DE-409F-9A02-DFD29D114BA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66" y="5861134"/>
            <a:ext cx="2743200" cy="8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18516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14737310-0841-48F9-8B2D-791FD2FB06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7429" y="2573072"/>
            <a:ext cx="6703297" cy="3331783"/>
          </a:xfrm>
          <a:prstGeom prst="rect">
            <a:avLst/>
          </a:prstGeom>
        </p:spPr>
      </p:pic>
      <p:grpSp>
        <p:nvGrpSpPr>
          <p:cNvPr id="17" name="Groupe 16">
            <a:extLst>
              <a:ext uri="{FF2B5EF4-FFF2-40B4-BE49-F238E27FC236}">
                <a16:creationId xmlns:a16="http://schemas.microsoft.com/office/drawing/2014/main" id="{BB469CD2-14D2-4B6F-A092-F0B58EB26E66}"/>
              </a:ext>
            </a:extLst>
          </p:cNvPr>
          <p:cNvGrpSpPr/>
          <p:nvPr/>
        </p:nvGrpSpPr>
        <p:grpSpPr>
          <a:xfrm>
            <a:off x="7202519" y="1947868"/>
            <a:ext cx="4851623" cy="4300485"/>
            <a:chOff x="6937474" y="396576"/>
            <a:chExt cx="6384334" cy="5659087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45E4E11-08AB-4177-ADAE-32E57E6BB4B5}"/>
                </a:ext>
              </a:extLst>
            </p:cNvPr>
            <p:cNvSpPr/>
            <p:nvPr/>
          </p:nvSpPr>
          <p:spPr>
            <a:xfrm>
              <a:off x="7541356" y="1248124"/>
              <a:ext cx="4882394" cy="4303552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F28BEFC4-2618-4EBB-BE54-39403AE58486}"/>
                </a:ext>
              </a:extLst>
            </p:cNvPr>
            <p:cNvSpPr/>
            <p:nvPr/>
          </p:nvSpPr>
          <p:spPr>
            <a:xfrm>
              <a:off x="7541356" y="396576"/>
              <a:ext cx="1980843" cy="8505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200" dirty="0">
                  <a:solidFill>
                    <a:srgbClr val="003E74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Energy</a:t>
              </a:r>
              <a:r>
                <a:rPr lang="en-US" sz="1200" dirty="0">
                  <a:solidFill>
                    <a:srgbClr val="014076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use Intensity (EUI) (kWh/m².an)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5CBCEA3-921B-4A96-AAB7-55817A9C2E7B}"/>
                </a:ext>
              </a:extLst>
            </p:cNvPr>
            <p:cNvSpPr/>
            <p:nvPr/>
          </p:nvSpPr>
          <p:spPr>
            <a:xfrm>
              <a:off x="10910320" y="5603646"/>
              <a:ext cx="2411488" cy="36450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>
                  <a:solidFill>
                    <a:srgbClr val="014076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Heated surface (m²) </a:t>
              </a:r>
            </a:p>
          </p:txBody>
        </p:sp>
        <p:cxnSp>
          <p:nvCxnSpPr>
            <p:cNvPr id="7" name="Connecteur droit 6">
              <a:extLst>
                <a:ext uri="{FF2B5EF4-FFF2-40B4-BE49-F238E27FC236}">
                  <a16:creationId xmlns:a16="http://schemas.microsoft.com/office/drawing/2014/main" id="{001ADC84-8484-4DFC-A589-9BF3C58B5C07}"/>
                </a:ext>
              </a:extLst>
            </p:cNvPr>
            <p:cNvCxnSpPr>
              <a:cxnSpLocks/>
              <a:stCxn id="4" idx="0"/>
            </p:cNvCxnSpPr>
            <p:nvPr/>
          </p:nvCxnSpPr>
          <p:spPr>
            <a:xfrm>
              <a:off x="9982552" y="1248124"/>
              <a:ext cx="0" cy="292253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necteur droit 7">
              <a:extLst>
                <a:ext uri="{FF2B5EF4-FFF2-40B4-BE49-F238E27FC236}">
                  <a16:creationId xmlns:a16="http://schemas.microsoft.com/office/drawing/2014/main" id="{E31169E2-3A13-4108-8A27-9DE83C7651B1}"/>
                </a:ext>
              </a:extLst>
            </p:cNvPr>
            <p:cNvCxnSpPr>
              <a:cxnSpLocks/>
            </p:cNvCxnSpPr>
            <p:nvPr/>
          </p:nvCxnSpPr>
          <p:spPr>
            <a:xfrm>
              <a:off x="7541356" y="2750191"/>
              <a:ext cx="4882393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A001E042-ECE8-479B-9D47-BE1486A4E61C}"/>
                </a:ext>
              </a:extLst>
            </p:cNvPr>
            <p:cNvSpPr/>
            <p:nvPr/>
          </p:nvSpPr>
          <p:spPr>
            <a:xfrm>
              <a:off x="10796958" y="3097512"/>
              <a:ext cx="726471" cy="726471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3200"/>
                <a:t>2</a:t>
              </a:r>
              <a:endParaRPr lang="fr-BE" sz="3200"/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0D5663B5-17B4-48CC-AE24-22BC7FFB4FF0}"/>
                </a:ext>
              </a:extLst>
            </p:cNvPr>
            <p:cNvSpPr/>
            <p:nvPr/>
          </p:nvSpPr>
          <p:spPr>
            <a:xfrm>
              <a:off x="10796958" y="1621974"/>
              <a:ext cx="726471" cy="726471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3200"/>
                <a:t>1</a:t>
              </a:r>
              <a:endParaRPr lang="fr-BE" sz="3200"/>
            </a:p>
          </p:txBody>
        </p:sp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46A190B7-849F-45AD-8CF9-6FDE69A9D47B}"/>
                </a:ext>
              </a:extLst>
            </p:cNvPr>
            <p:cNvSpPr/>
            <p:nvPr/>
          </p:nvSpPr>
          <p:spPr>
            <a:xfrm>
              <a:off x="8286469" y="1615868"/>
              <a:ext cx="726471" cy="726471"/>
            </a:xfrm>
            <a:prstGeom prst="ellipse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3200"/>
                <a:t>3</a:t>
              </a:r>
              <a:endParaRPr lang="fr-BE" sz="320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74AE12E-1929-402F-9A1B-A45C60B8751B}"/>
                </a:ext>
              </a:extLst>
            </p:cNvPr>
            <p:cNvSpPr/>
            <p:nvPr/>
          </p:nvSpPr>
          <p:spPr>
            <a:xfrm>
              <a:off x="9536755" y="5691155"/>
              <a:ext cx="1295606" cy="36450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 b="1">
                  <a:solidFill>
                    <a:srgbClr val="A0205D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1,000 m²</a:t>
              </a:r>
              <a:endParaRPr lang="fr-BE" sz="1200" b="1">
                <a:solidFill>
                  <a:srgbClr val="A0205D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DD1790A-2513-4519-95C5-A298F043BCDF}"/>
                </a:ext>
              </a:extLst>
            </p:cNvPr>
            <p:cNvSpPr/>
            <p:nvPr/>
          </p:nvSpPr>
          <p:spPr>
            <a:xfrm rot="16200000">
              <a:off x="6633713" y="3257941"/>
              <a:ext cx="1228474" cy="60751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200" b="1">
                  <a:solidFill>
                    <a:srgbClr val="A0205D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100 kWh/m²</a:t>
              </a:r>
              <a:endParaRPr lang="fr-BE" sz="1200" b="1">
                <a:solidFill>
                  <a:srgbClr val="A0205D"/>
                </a:solidFill>
              </a:endParaRPr>
            </a:p>
          </p:txBody>
        </p:sp>
        <p:cxnSp>
          <p:nvCxnSpPr>
            <p:cNvPr id="14" name="Connecteur droit 13">
              <a:extLst>
                <a:ext uri="{FF2B5EF4-FFF2-40B4-BE49-F238E27FC236}">
                  <a16:creationId xmlns:a16="http://schemas.microsoft.com/office/drawing/2014/main" id="{5F69E8A4-5F46-4187-832B-2C417E6E1785}"/>
                </a:ext>
              </a:extLst>
            </p:cNvPr>
            <p:cNvCxnSpPr/>
            <p:nvPr/>
          </p:nvCxnSpPr>
          <p:spPr>
            <a:xfrm>
              <a:off x="7541356" y="4119669"/>
              <a:ext cx="4882393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35F2633-DF94-4086-A68D-F89A4089160A}"/>
                </a:ext>
              </a:extLst>
            </p:cNvPr>
            <p:cNvSpPr/>
            <p:nvPr/>
          </p:nvSpPr>
          <p:spPr>
            <a:xfrm rot="16200000">
              <a:off x="6626994" y="1886727"/>
              <a:ext cx="1228474" cy="60751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200" b="1">
                  <a:solidFill>
                    <a:srgbClr val="A0205D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170 kWh/m²</a:t>
              </a:r>
              <a:endParaRPr lang="fr-BE" sz="1200" b="1">
                <a:solidFill>
                  <a:srgbClr val="A0205D"/>
                </a:solidFill>
              </a:endParaRPr>
            </a:p>
          </p:txBody>
        </p:sp>
        <p:cxnSp>
          <p:nvCxnSpPr>
            <p:cNvPr id="16" name="Connecteur droit 15">
              <a:extLst>
                <a:ext uri="{FF2B5EF4-FFF2-40B4-BE49-F238E27FC236}">
                  <a16:creationId xmlns:a16="http://schemas.microsoft.com/office/drawing/2014/main" id="{4C1D4B4B-40AA-40DC-8F4A-E3A3BFDCFE11}"/>
                </a:ext>
              </a:extLst>
            </p:cNvPr>
            <p:cNvCxnSpPr>
              <a:cxnSpLocks/>
            </p:cNvCxnSpPr>
            <p:nvPr/>
          </p:nvCxnSpPr>
          <p:spPr>
            <a:xfrm>
              <a:off x="9983658" y="4119669"/>
              <a:ext cx="0" cy="1383873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614ACF18-8E5B-4F8F-B585-1571303B6E15}"/>
              </a:ext>
            </a:extLst>
          </p:cNvPr>
          <p:cNvCxnSpPr/>
          <p:nvPr/>
        </p:nvCxnSpPr>
        <p:spPr>
          <a:xfrm flipV="1">
            <a:off x="7661422" y="1867865"/>
            <a:ext cx="0" cy="4011798"/>
          </a:xfrm>
          <a:prstGeom prst="straightConnector1">
            <a:avLst/>
          </a:prstGeom>
          <a:ln>
            <a:solidFill>
              <a:srgbClr val="01407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avec flèche 19">
            <a:extLst>
              <a:ext uri="{FF2B5EF4-FFF2-40B4-BE49-F238E27FC236}">
                <a16:creationId xmlns:a16="http://schemas.microsoft.com/office/drawing/2014/main" id="{5EB0E02D-9F27-40FA-A8F7-FFE721812870}"/>
              </a:ext>
            </a:extLst>
          </p:cNvPr>
          <p:cNvCxnSpPr>
            <a:cxnSpLocks/>
          </p:cNvCxnSpPr>
          <p:nvPr/>
        </p:nvCxnSpPr>
        <p:spPr>
          <a:xfrm flipV="1">
            <a:off x="7661422" y="5862910"/>
            <a:ext cx="4253575" cy="1"/>
          </a:xfrm>
          <a:prstGeom prst="straightConnector1">
            <a:avLst/>
          </a:prstGeom>
          <a:ln>
            <a:solidFill>
              <a:srgbClr val="01407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space réservé du numéro de diapositive 1">
            <a:extLst>
              <a:ext uri="{FF2B5EF4-FFF2-40B4-BE49-F238E27FC236}">
                <a16:creationId xmlns:a16="http://schemas.microsoft.com/office/drawing/2014/main" id="{EF3A0519-67EF-4E51-9B83-ECCA13E454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71302"/>
            <a:ext cx="2743200" cy="365125"/>
          </a:xfrm>
        </p:spPr>
        <p:txBody>
          <a:bodyPr/>
          <a:lstStyle/>
          <a:p>
            <a:fld id="{0A782538-02AD-4D54-ABDF-1108B5987306}" type="slidenum">
              <a:rPr lang="fr-BE" smtClean="0"/>
              <a:t>10</a:t>
            </a:fld>
            <a:endParaRPr lang="fr-BE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E7C1099-7725-434B-929E-69F5F7AA8D9E}"/>
              </a:ext>
            </a:extLst>
          </p:cNvPr>
          <p:cNvSpPr/>
          <p:nvPr/>
        </p:nvSpPr>
        <p:spPr>
          <a:xfrm>
            <a:off x="0" y="263153"/>
            <a:ext cx="121920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54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uildings’ </a:t>
            </a:r>
            <a:r>
              <a:rPr lang="en-US" sz="5400" dirty="0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election</a:t>
            </a:r>
          </a:p>
        </p:txBody>
      </p:sp>
    </p:spTree>
    <p:extLst>
      <p:ext uri="{BB962C8B-B14F-4D97-AF65-F5344CB8AC3E}">
        <p14:creationId xmlns:p14="http://schemas.microsoft.com/office/powerpoint/2010/main" val="14058410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ADB2A0B-DAFF-4F1E-ABBE-FB82D1ADBDC2}"/>
              </a:ext>
            </a:extLst>
          </p:cNvPr>
          <p:cNvSpPr/>
          <p:nvPr/>
        </p:nvSpPr>
        <p:spPr>
          <a:xfrm>
            <a:off x="-179109" y="-75414"/>
            <a:ext cx="12594210" cy="7343480"/>
          </a:xfrm>
          <a:prstGeom prst="rect">
            <a:avLst/>
          </a:prstGeom>
          <a:solidFill>
            <a:srgbClr val="01407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id="{0EC52AFC-7CBA-46F3-B8BB-A3D2BE2F9F16}"/>
              </a:ext>
            </a:extLst>
          </p:cNvPr>
          <p:cNvSpPr/>
          <p:nvPr/>
        </p:nvSpPr>
        <p:spPr>
          <a:xfrm>
            <a:off x="3396000" y="729000"/>
            <a:ext cx="5400000" cy="5400000"/>
          </a:xfrm>
          <a:prstGeom prst="ellipse">
            <a:avLst/>
          </a:prstGeom>
          <a:solidFill>
            <a:srgbClr val="A0205D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id="{DD62BE35-B6F2-471E-ADDB-A6311FE49478}"/>
              </a:ext>
            </a:extLst>
          </p:cNvPr>
          <p:cNvSpPr/>
          <p:nvPr/>
        </p:nvSpPr>
        <p:spPr>
          <a:xfrm>
            <a:off x="5237770" y="729000"/>
            <a:ext cx="5400000" cy="5400000"/>
          </a:xfrm>
          <a:prstGeom prst="ellipse">
            <a:avLst/>
          </a:prstGeom>
          <a:solidFill>
            <a:srgbClr val="A0205D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B297F5A3-163D-43EF-B0C8-05A3D440C2BD}"/>
              </a:ext>
            </a:extLst>
          </p:cNvPr>
          <p:cNvSpPr/>
          <p:nvPr/>
        </p:nvSpPr>
        <p:spPr>
          <a:xfrm>
            <a:off x="1554230" y="729000"/>
            <a:ext cx="5400000" cy="5400000"/>
          </a:xfrm>
          <a:prstGeom prst="ellipse">
            <a:avLst/>
          </a:prstGeom>
          <a:solidFill>
            <a:srgbClr val="A0205D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04CB144-5DD3-43CE-B8A0-9676BBED4B39}"/>
              </a:ext>
            </a:extLst>
          </p:cNvPr>
          <p:cNvSpPr/>
          <p:nvPr/>
        </p:nvSpPr>
        <p:spPr>
          <a:xfrm>
            <a:off x="-179109" y="1618177"/>
            <a:ext cx="12594210" cy="26118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250000"/>
              </a:lnSpc>
            </a:pPr>
            <a:r>
              <a:rPr lang="fr-FR" sz="3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TEP 3 </a:t>
            </a:r>
          </a:p>
          <a:p>
            <a:pPr algn="ctr">
              <a:lnSpc>
                <a:spcPct val="250000"/>
              </a:lnSpc>
            </a:pPr>
            <a:r>
              <a:rPr lang="fr-FR" sz="36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Quickscans</a:t>
            </a:r>
            <a:endParaRPr lang="fr-FR" sz="36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31470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>
            <a:extLst>
              <a:ext uri="{FF2B5EF4-FFF2-40B4-BE49-F238E27FC236}">
                <a16:creationId xmlns:a16="http://schemas.microsoft.com/office/drawing/2014/main" id="{5A78A952-374A-4D10-BAB5-BBABD1FD151B}"/>
              </a:ext>
            </a:extLst>
          </p:cNvPr>
          <p:cNvSpPr txBox="1"/>
          <p:nvPr/>
        </p:nvSpPr>
        <p:spPr>
          <a:xfrm>
            <a:off x="6358472" y="1221807"/>
            <a:ext cx="6027565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buClr>
                <a:srgbClr val="A0205D"/>
              </a:buClr>
              <a:buFont typeface="Wingdings" panose="05000000000000000000" pitchFamily="2" charset="2"/>
              <a:buChar char="q"/>
            </a:pPr>
            <a:r>
              <a:rPr lang="en-US" sz="2000">
                <a:solidFill>
                  <a:srgbClr val="1D499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2000" b="1">
                <a:solidFill>
                  <a:srgbClr val="00407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Walls</a:t>
            </a:r>
          </a:p>
          <a:p>
            <a:pPr marL="1657350" lvl="3" indent="-285750">
              <a:buClr>
                <a:srgbClr val="A0205D"/>
              </a:buClr>
              <a:buFontTx/>
              <a:buChar char="-"/>
            </a:pPr>
            <a:r>
              <a:rPr lang="en-US" sz="2000">
                <a:solidFill>
                  <a:srgbClr val="00407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Wall composition</a:t>
            </a:r>
          </a:p>
          <a:p>
            <a:pPr marL="1657350" lvl="3" indent="-285750">
              <a:buClr>
                <a:srgbClr val="A0205D"/>
              </a:buClr>
              <a:buFontTx/>
              <a:buChar char="-"/>
            </a:pPr>
            <a:r>
              <a:rPr lang="en-US" sz="2000">
                <a:solidFill>
                  <a:srgbClr val="00407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sulation thickness and type</a:t>
            </a:r>
            <a:br>
              <a:rPr lang="en-US" sz="2000">
                <a:solidFill>
                  <a:srgbClr val="1D4999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en-US" sz="2000">
              <a:solidFill>
                <a:srgbClr val="1D4999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742950" lvl="1" indent="-285750">
              <a:buClr>
                <a:srgbClr val="A0205D"/>
              </a:buClr>
              <a:buFont typeface="Wingdings" panose="05000000000000000000" pitchFamily="2" charset="2"/>
              <a:buChar char="q"/>
            </a:pPr>
            <a:r>
              <a:rPr lang="en-US" sz="2000">
                <a:solidFill>
                  <a:srgbClr val="1D499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2000" b="1">
                <a:solidFill>
                  <a:srgbClr val="00407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Windows</a:t>
            </a:r>
            <a:endParaRPr lang="en-US" sz="2000">
              <a:solidFill>
                <a:srgbClr val="004077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657350" lvl="3" indent="-285750">
              <a:buClr>
                <a:srgbClr val="A0205D"/>
              </a:buClr>
              <a:buFontTx/>
              <a:buChar char="-"/>
            </a:pPr>
            <a:r>
              <a:rPr lang="en-US" sz="2000">
                <a:solidFill>
                  <a:srgbClr val="00407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ype of glazing</a:t>
            </a:r>
          </a:p>
          <a:p>
            <a:pPr marL="1657350" lvl="3" indent="-285750">
              <a:buClr>
                <a:srgbClr val="A0205D"/>
              </a:buClr>
              <a:buFontTx/>
              <a:buChar char="-"/>
            </a:pPr>
            <a:r>
              <a:rPr lang="en-US" sz="2000">
                <a:solidFill>
                  <a:srgbClr val="00407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ype of frame </a:t>
            </a:r>
            <a:br>
              <a:rPr lang="en-US" sz="2000">
                <a:solidFill>
                  <a:srgbClr val="1D4999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en-US" sz="2000">
              <a:solidFill>
                <a:srgbClr val="1D4999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742950" lvl="1" indent="-285750">
              <a:buClr>
                <a:srgbClr val="A0205D"/>
              </a:buClr>
              <a:buFont typeface="Wingdings" panose="05000000000000000000" pitchFamily="2" charset="2"/>
              <a:buChar char="q"/>
            </a:pPr>
            <a:r>
              <a:rPr lang="en-US" sz="2000">
                <a:solidFill>
                  <a:srgbClr val="1D499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2000" b="1">
                <a:solidFill>
                  <a:srgbClr val="00407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oofs</a:t>
            </a:r>
          </a:p>
          <a:p>
            <a:pPr marL="1657350" lvl="3" indent="-285750">
              <a:buClr>
                <a:srgbClr val="A0205D"/>
              </a:buClr>
              <a:buFontTx/>
              <a:buChar char="-"/>
            </a:pPr>
            <a:r>
              <a:rPr lang="en-US" sz="2000">
                <a:solidFill>
                  <a:srgbClr val="00407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ype de roof </a:t>
            </a:r>
          </a:p>
          <a:p>
            <a:pPr marL="1657350" lvl="3" indent="-285750">
              <a:buClr>
                <a:srgbClr val="A0205D"/>
              </a:buClr>
              <a:buFontTx/>
              <a:buChar char="-"/>
            </a:pPr>
            <a:r>
              <a:rPr lang="en-US" sz="2000">
                <a:solidFill>
                  <a:srgbClr val="00407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oof composition</a:t>
            </a:r>
            <a:br>
              <a:rPr lang="en-US" sz="2000">
                <a:solidFill>
                  <a:srgbClr val="1D4999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2000">
                <a:solidFill>
                  <a:srgbClr val="1D499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marL="742950" lvl="1" indent="-285750">
              <a:buClr>
                <a:srgbClr val="A0205D"/>
              </a:buClr>
              <a:buFont typeface="Wingdings" panose="05000000000000000000" pitchFamily="2" charset="2"/>
              <a:buChar char="q"/>
            </a:pPr>
            <a:r>
              <a:rPr lang="en-US" sz="2000">
                <a:solidFill>
                  <a:srgbClr val="1D499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2000" b="1">
                <a:solidFill>
                  <a:srgbClr val="00407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loors</a:t>
            </a:r>
          </a:p>
          <a:p>
            <a:pPr marL="1657350" lvl="3" indent="-285750">
              <a:buClr>
                <a:srgbClr val="A0205D"/>
              </a:buClr>
              <a:buFontTx/>
              <a:buChar char="-"/>
            </a:pPr>
            <a:r>
              <a:rPr lang="en-US" sz="2000">
                <a:solidFill>
                  <a:srgbClr val="00407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ype of floor</a:t>
            </a:r>
          </a:p>
          <a:p>
            <a:pPr marL="1657350" lvl="3" indent="-285750">
              <a:buClr>
                <a:srgbClr val="A0205D"/>
              </a:buClr>
              <a:buFontTx/>
              <a:buChar char="-"/>
            </a:pPr>
            <a:r>
              <a:rPr lang="en-US" sz="2000">
                <a:solidFill>
                  <a:srgbClr val="00407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loor composition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6ACBD210-553B-4B2A-A355-3CB2CAAFCE74}"/>
              </a:ext>
            </a:extLst>
          </p:cNvPr>
          <p:cNvSpPr txBox="1"/>
          <p:nvPr/>
        </p:nvSpPr>
        <p:spPr>
          <a:xfrm>
            <a:off x="8167456" y="6321886"/>
            <a:ext cx="38378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Unit of measurement (U-value)</a:t>
            </a:r>
          </a:p>
        </p:txBody>
      </p:sp>
      <p:sp>
        <p:nvSpPr>
          <p:cNvPr id="9" name="Flèche : droite 8">
            <a:extLst>
              <a:ext uri="{FF2B5EF4-FFF2-40B4-BE49-F238E27FC236}">
                <a16:creationId xmlns:a16="http://schemas.microsoft.com/office/drawing/2014/main" id="{4C7BA84F-AAA6-4843-BE03-8DC693444CF8}"/>
              </a:ext>
            </a:extLst>
          </p:cNvPr>
          <p:cNvSpPr/>
          <p:nvPr/>
        </p:nvSpPr>
        <p:spPr>
          <a:xfrm>
            <a:off x="6819264" y="6396239"/>
            <a:ext cx="1260000" cy="324000"/>
          </a:xfrm>
          <a:prstGeom prst="rightArrow">
            <a:avLst/>
          </a:prstGeom>
          <a:solidFill>
            <a:srgbClr val="A0205D"/>
          </a:solidFill>
          <a:ln>
            <a:solidFill>
              <a:srgbClr val="A0205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E5F688A-002F-42B2-9CD9-D7900C0B01DB}"/>
              </a:ext>
            </a:extLst>
          </p:cNvPr>
          <p:cNvSpPr/>
          <p:nvPr/>
        </p:nvSpPr>
        <p:spPr>
          <a:xfrm>
            <a:off x="0" y="9454"/>
            <a:ext cx="12192000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50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uilding’s envelop </a:t>
            </a:r>
            <a:r>
              <a:rPr lang="en-US" sz="5000" dirty="0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ssessment</a:t>
            </a:r>
          </a:p>
        </p:txBody>
      </p:sp>
      <p:pic>
        <p:nvPicPr>
          <p:cNvPr id="3" name="Image 2" descr="Une image contenant bâtiment, extérieur, trottoir, debout&#10;&#10;Description générée automatiquement">
            <a:extLst>
              <a:ext uri="{FF2B5EF4-FFF2-40B4-BE49-F238E27FC236}">
                <a16:creationId xmlns:a16="http://schemas.microsoft.com/office/drawing/2014/main" id="{F86430F2-BF0C-4E90-B255-F4DDE6B365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0016" y="1879088"/>
            <a:ext cx="3588805" cy="4785074"/>
          </a:xfrm>
          <a:prstGeom prst="rect">
            <a:avLst/>
          </a:prstGeom>
        </p:spPr>
      </p:pic>
      <p:pic>
        <p:nvPicPr>
          <p:cNvPr id="11" name="Image 10" descr="Une image contenant bâtiment, extérieur, brique, debout&#10;&#10;Description générée automatiquement">
            <a:extLst>
              <a:ext uri="{FF2B5EF4-FFF2-40B4-BE49-F238E27FC236}">
                <a16:creationId xmlns:a16="http://schemas.microsoft.com/office/drawing/2014/main" id="{1B9D2114-AD0E-4207-9CD4-BB316EDBC2D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36" b="25464"/>
          <a:stretch/>
        </p:blipFill>
        <p:spPr>
          <a:xfrm>
            <a:off x="246517" y="928447"/>
            <a:ext cx="3264579" cy="3016443"/>
          </a:xfrm>
          <a:prstGeom prst="rect">
            <a:avLst/>
          </a:prstGeom>
          <a:ln w="57150">
            <a:solidFill>
              <a:schemeClr val="bg1"/>
            </a:solidFill>
          </a:ln>
        </p:spPr>
      </p:pic>
      <p:sp>
        <p:nvSpPr>
          <p:cNvPr id="12" name="Espace réservé du numéro de diapositive 1">
            <a:extLst>
              <a:ext uri="{FF2B5EF4-FFF2-40B4-BE49-F238E27FC236}">
                <a16:creationId xmlns:a16="http://schemas.microsoft.com/office/drawing/2014/main" id="{D378D91B-ECB9-4FC7-BD30-5692DDF4B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2429522" y="6477877"/>
            <a:ext cx="2743200" cy="365125"/>
          </a:xfrm>
        </p:spPr>
        <p:txBody>
          <a:bodyPr/>
          <a:lstStyle/>
          <a:p>
            <a:fld id="{0A782538-02AD-4D54-ABDF-1108B5987306}" type="slidenum">
              <a:rPr lang="fr-BE" smtClean="0"/>
              <a:t>12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5886715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oneTexte 9">
            <a:extLst>
              <a:ext uri="{FF2B5EF4-FFF2-40B4-BE49-F238E27FC236}">
                <a16:creationId xmlns:a16="http://schemas.microsoft.com/office/drawing/2014/main" id="{FC0733BE-FD44-437C-B2DE-D3F86EBB81EE}"/>
              </a:ext>
            </a:extLst>
          </p:cNvPr>
          <p:cNvSpPr txBox="1"/>
          <p:nvPr/>
        </p:nvSpPr>
        <p:spPr>
          <a:xfrm>
            <a:off x="6729282" y="1625332"/>
            <a:ext cx="5458895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buClr>
                <a:srgbClr val="A0205D"/>
              </a:buClr>
              <a:buFont typeface="Wingdings" panose="05000000000000000000" pitchFamily="2" charset="2"/>
              <a:buChar char="q"/>
            </a:pPr>
            <a:r>
              <a:rPr lang="en-US" sz="1600">
                <a:solidFill>
                  <a:srgbClr val="00407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600" b="1">
                <a:solidFill>
                  <a:srgbClr val="00407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Heaters</a:t>
            </a:r>
          </a:p>
          <a:p>
            <a:pPr lvl="2">
              <a:buClr>
                <a:srgbClr val="A0205D"/>
              </a:buClr>
            </a:pPr>
            <a:r>
              <a:rPr lang="en-US" sz="1600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</a:t>
            </a:r>
            <a:r>
              <a:rPr lang="en-US" sz="1600">
                <a:solidFill>
                  <a:srgbClr val="00407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Heat generator</a:t>
            </a:r>
          </a:p>
          <a:p>
            <a:pPr marL="1200150" lvl="2" indent="-285750">
              <a:buClr>
                <a:srgbClr val="A0205D"/>
              </a:buClr>
              <a:buFontTx/>
              <a:buChar char="-"/>
            </a:pPr>
            <a:r>
              <a:rPr lang="en-US" sz="1600">
                <a:solidFill>
                  <a:srgbClr val="00407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mponents of the distribution circuit (insulation of pipes, circulators, valves)</a:t>
            </a:r>
          </a:p>
          <a:p>
            <a:pPr marL="1200150" lvl="2" indent="-285750">
              <a:buClr>
                <a:srgbClr val="A0205D"/>
              </a:buClr>
              <a:buFontTx/>
              <a:buChar char="-"/>
            </a:pPr>
            <a:r>
              <a:rPr lang="en-US" sz="1600">
                <a:solidFill>
                  <a:srgbClr val="00407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mitter's condition (radiators, air heaters, convectors)</a:t>
            </a:r>
          </a:p>
          <a:p>
            <a:pPr marL="1200150" lvl="2" indent="-285750">
              <a:buClr>
                <a:srgbClr val="A0205D"/>
              </a:buClr>
              <a:buFontTx/>
              <a:buChar char="-"/>
            </a:pPr>
            <a:r>
              <a:rPr lang="en-US" sz="1600">
                <a:solidFill>
                  <a:srgbClr val="00407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gulation (centralized technical management system)</a:t>
            </a:r>
          </a:p>
          <a:p>
            <a:pPr lvl="3">
              <a:buClr>
                <a:srgbClr val="A0205D"/>
              </a:buClr>
            </a:pPr>
            <a:endParaRPr lang="en-US" sz="1600">
              <a:solidFill>
                <a:srgbClr val="004077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742950" lvl="1" indent="-285750">
              <a:buClr>
                <a:srgbClr val="A0205D"/>
              </a:buClr>
              <a:buFont typeface="Wingdings" panose="05000000000000000000" pitchFamily="2" charset="2"/>
              <a:buChar char="q"/>
            </a:pPr>
            <a:r>
              <a:rPr lang="en-US" sz="1600">
                <a:solidFill>
                  <a:srgbClr val="00407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600" b="1">
                <a:solidFill>
                  <a:srgbClr val="00407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omestic hot water production</a:t>
            </a:r>
            <a:br>
              <a:rPr lang="en-US" sz="1600" b="1">
                <a:solidFill>
                  <a:srgbClr val="004077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en-US" sz="1600" b="1">
              <a:solidFill>
                <a:srgbClr val="004077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742950" lvl="1" indent="-285750">
              <a:buClr>
                <a:srgbClr val="A0205D"/>
              </a:buClr>
              <a:buFont typeface="Wingdings" panose="05000000000000000000" pitchFamily="2" charset="2"/>
              <a:buChar char="q"/>
            </a:pPr>
            <a:r>
              <a:rPr lang="en-US" sz="1600">
                <a:solidFill>
                  <a:srgbClr val="00407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600" b="1">
                <a:solidFill>
                  <a:srgbClr val="00407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entilation system</a:t>
            </a:r>
            <a:br>
              <a:rPr lang="en-US" sz="1600">
                <a:solidFill>
                  <a:srgbClr val="004077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en-US" sz="1600">
              <a:solidFill>
                <a:srgbClr val="004077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742950" lvl="1" indent="-285750">
              <a:buClr>
                <a:srgbClr val="A0205D"/>
              </a:buClr>
              <a:buFont typeface="Wingdings" panose="05000000000000000000" pitchFamily="2" charset="2"/>
              <a:buChar char="q"/>
            </a:pPr>
            <a:r>
              <a:rPr lang="en-US" sz="1600">
                <a:solidFill>
                  <a:srgbClr val="00407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600" b="1">
                <a:solidFill>
                  <a:srgbClr val="00407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nsite renewable resources </a:t>
            </a:r>
            <a:r>
              <a:rPr lang="en-US" sz="1600">
                <a:solidFill>
                  <a:srgbClr val="00407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photovoltaic, solar thermal, CHP, biomass)</a:t>
            </a:r>
          </a:p>
        </p:txBody>
      </p:sp>
      <p:pic>
        <p:nvPicPr>
          <p:cNvPr id="3" name="Image 2" descr="Une image contenant intérieur, assis, regardant, chat&#10;&#10;Description générée automatiquement">
            <a:extLst>
              <a:ext uri="{FF2B5EF4-FFF2-40B4-BE49-F238E27FC236}">
                <a16:creationId xmlns:a16="http://schemas.microsoft.com/office/drawing/2014/main" id="{9E992DB4-9702-409D-A579-5F13B32B707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3009578" y="2350950"/>
            <a:ext cx="5257850" cy="2957541"/>
          </a:xfrm>
          <a:prstGeom prst="rect">
            <a:avLst/>
          </a:prstGeom>
        </p:spPr>
      </p:pic>
      <p:pic>
        <p:nvPicPr>
          <p:cNvPr id="6" name="Image 5" descr="Une image contenant intérieur, grand, bleu, train&#10;&#10;Description générée automatiquement">
            <a:extLst>
              <a:ext uri="{FF2B5EF4-FFF2-40B4-BE49-F238E27FC236}">
                <a16:creationId xmlns:a16="http://schemas.microsoft.com/office/drawing/2014/main" id="{B6BB817F-F31A-44D2-B6A6-2125E79BCB9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85" y="1200795"/>
            <a:ext cx="3943387" cy="5257850"/>
          </a:xfrm>
          <a:prstGeom prst="rect">
            <a:avLst/>
          </a:prstGeom>
        </p:spPr>
      </p:pic>
      <p:sp>
        <p:nvSpPr>
          <p:cNvPr id="8" name="Espace réservé du numéro de diapositive 1">
            <a:extLst>
              <a:ext uri="{FF2B5EF4-FFF2-40B4-BE49-F238E27FC236}">
                <a16:creationId xmlns:a16="http://schemas.microsoft.com/office/drawing/2014/main" id="{10AA73B2-6751-464F-8B17-950FDE2B31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4977" y="6538026"/>
            <a:ext cx="2743200" cy="365125"/>
          </a:xfrm>
        </p:spPr>
        <p:txBody>
          <a:bodyPr/>
          <a:lstStyle/>
          <a:p>
            <a:fld id="{0A782538-02AD-4D54-ABDF-1108B5987306}" type="slidenum">
              <a:rPr lang="fr-BE" smtClean="0"/>
              <a:t>13</a:t>
            </a:fld>
            <a:endParaRPr lang="fr-BE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8F8144E-C213-4B83-8BD7-41F492306758}"/>
              </a:ext>
            </a:extLst>
          </p:cNvPr>
          <p:cNvSpPr/>
          <p:nvPr/>
        </p:nvSpPr>
        <p:spPr>
          <a:xfrm>
            <a:off x="0" y="28069"/>
            <a:ext cx="121920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54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ystems</a:t>
            </a:r>
            <a:r>
              <a:rPr lang="en-US" sz="5400" dirty="0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assessment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056EE3B1-24B1-41BF-A362-F237660C7604}"/>
              </a:ext>
            </a:extLst>
          </p:cNvPr>
          <p:cNvSpPr txBox="1"/>
          <p:nvPr/>
        </p:nvSpPr>
        <p:spPr>
          <a:xfrm>
            <a:off x="8202966" y="6205148"/>
            <a:ext cx="40296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Unit of measurement (Efficiency)</a:t>
            </a:r>
          </a:p>
        </p:txBody>
      </p:sp>
      <p:sp>
        <p:nvSpPr>
          <p:cNvPr id="14" name="Flèche : droite 13">
            <a:extLst>
              <a:ext uri="{FF2B5EF4-FFF2-40B4-BE49-F238E27FC236}">
                <a16:creationId xmlns:a16="http://schemas.microsoft.com/office/drawing/2014/main" id="{BB4F8EBB-211C-41C1-9184-EDD3DC24FFF9}"/>
              </a:ext>
            </a:extLst>
          </p:cNvPr>
          <p:cNvSpPr/>
          <p:nvPr/>
        </p:nvSpPr>
        <p:spPr>
          <a:xfrm>
            <a:off x="7325291" y="6214026"/>
            <a:ext cx="799939" cy="324000"/>
          </a:xfrm>
          <a:prstGeom prst="rightArrow">
            <a:avLst/>
          </a:prstGeom>
          <a:solidFill>
            <a:srgbClr val="A0205D"/>
          </a:solidFill>
          <a:ln>
            <a:solidFill>
              <a:srgbClr val="A0205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0549468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Image 24">
            <a:extLst>
              <a:ext uri="{FF2B5EF4-FFF2-40B4-BE49-F238E27FC236}">
                <a16:creationId xmlns:a16="http://schemas.microsoft.com/office/drawing/2014/main" id="{12B4ACFB-3F44-435B-A761-D4B20CD7102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72" r="9449"/>
          <a:stretch/>
        </p:blipFill>
        <p:spPr>
          <a:xfrm>
            <a:off x="6962635" y="1649435"/>
            <a:ext cx="5219936" cy="3484885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AB58FC55-E952-4DCD-9D88-5095840E87E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88" r="13209" b="3948"/>
          <a:stretch/>
        </p:blipFill>
        <p:spPr>
          <a:xfrm>
            <a:off x="3650687" y="2053847"/>
            <a:ext cx="3356122" cy="2676060"/>
          </a:xfrm>
          <a:prstGeom prst="rect">
            <a:avLst/>
          </a:prstGeom>
        </p:spPr>
      </p:pic>
      <p:sp>
        <p:nvSpPr>
          <p:cNvPr id="18" name="Flèche : droite 17">
            <a:extLst>
              <a:ext uri="{FF2B5EF4-FFF2-40B4-BE49-F238E27FC236}">
                <a16:creationId xmlns:a16="http://schemas.microsoft.com/office/drawing/2014/main" id="{D3222025-EDB3-4F34-82DB-FCAA779AAC93}"/>
              </a:ext>
            </a:extLst>
          </p:cNvPr>
          <p:cNvSpPr/>
          <p:nvPr/>
        </p:nvSpPr>
        <p:spPr>
          <a:xfrm>
            <a:off x="3334860" y="3127602"/>
            <a:ext cx="360000" cy="360000"/>
          </a:xfrm>
          <a:prstGeom prst="rightArrow">
            <a:avLst/>
          </a:prstGeom>
          <a:solidFill>
            <a:srgbClr val="004077"/>
          </a:solidFill>
          <a:ln>
            <a:solidFill>
              <a:srgbClr val="0040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EA0BF11D-79F1-4CC3-9AC0-2C33348EC04B}"/>
              </a:ext>
            </a:extLst>
          </p:cNvPr>
          <p:cNvSpPr txBox="1"/>
          <p:nvPr/>
        </p:nvSpPr>
        <p:spPr>
          <a:xfrm>
            <a:off x="260675" y="5526818"/>
            <a:ext cx="26720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9A205D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Real Project</a:t>
            </a:r>
            <a:endParaRPr kumimoji="0" lang="fr-BE" sz="2400" b="1" i="0" u="none" strike="noStrike" kern="1200" cap="none" spc="0" normalizeH="0" baseline="0" noProof="0" dirty="0">
              <a:ln>
                <a:noFill/>
              </a:ln>
              <a:solidFill>
                <a:srgbClr val="9A205D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422CC6B5-AD7E-4818-B42F-C5DD9E9BFE1E}"/>
              </a:ext>
            </a:extLst>
          </p:cNvPr>
          <p:cNvSpPr txBox="1"/>
          <p:nvPr/>
        </p:nvSpPr>
        <p:spPr>
          <a:xfrm>
            <a:off x="4220875" y="5526818"/>
            <a:ext cx="267208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2400" b="1">
                <a:solidFill>
                  <a:srgbClr val="9A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Geometric 3D modelling </a:t>
            </a:r>
            <a:endParaRPr kumimoji="0" lang="en-US" sz="2400" b="1" i="0" u="none" strike="noStrike" kern="1200" cap="none" spc="0" normalizeH="0" baseline="0">
              <a:ln>
                <a:noFill/>
              </a:ln>
              <a:solidFill>
                <a:srgbClr val="9A205D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3638070F-8093-4FD1-850D-FB7D3202DE7B}"/>
              </a:ext>
            </a:extLst>
          </p:cNvPr>
          <p:cNvSpPr txBox="1"/>
          <p:nvPr/>
        </p:nvSpPr>
        <p:spPr>
          <a:xfrm>
            <a:off x="7597507" y="5517195"/>
            <a:ext cx="414528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rgbClr val="9A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hermal dynamic simulation</a:t>
            </a:r>
            <a:endParaRPr kumimoji="0" lang="en-US" sz="2400" b="1" i="0" u="none" strike="noStrike" kern="1200" cap="none" spc="0" normalizeH="0" baseline="0" dirty="0">
              <a:ln>
                <a:noFill/>
              </a:ln>
              <a:solidFill>
                <a:srgbClr val="9A205D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4" name="Espace réservé du numéro de diapositive 1">
            <a:extLst>
              <a:ext uri="{FF2B5EF4-FFF2-40B4-BE49-F238E27FC236}">
                <a16:creationId xmlns:a16="http://schemas.microsoft.com/office/drawing/2014/main" id="{AD588ECE-C9E8-4576-A323-6A16F7CAB6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71302"/>
            <a:ext cx="2743200" cy="365125"/>
          </a:xfrm>
        </p:spPr>
        <p:txBody>
          <a:bodyPr/>
          <a:lstStyle/>
          <a:p>
            <a:fld id="{0A782538-02AD-4D54-ABDF-1108B5987306}" type="slidenum">
              <a:rPr lang="fr-BE" smtClean="0"/>
              <a:t>14</a:t>
            </a:fld>
            <a:endParaRPr lang="fr-BE"/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E1507A45-963F-4D5C-A77C-C0DBD49C28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708" y="2164841"/>
            <a:ext cx="3149320" cy="228552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24" name="Flèche : droite 23">
            <a:extLst>
              <a:ext uri="{FF2B5EF4-FFF2-40B4-BE49-F238E27FC236}">
                <a16:creationId xmlns:a16="http://schemas.microsoft.com/office/drawing/2014/main" id="{E07636E8-C87E-4EF2-93A3-D20FEC2F440B}"/>
              </a:ext>
            </a:extLst>
          </p:cNvPr>
          <p:cNvSpPr/>
          <p:nvPr/>
        </p:nvSpPr>
        <p:spPr>
          <a:xfrm>
            <a:off x="7026488" y="3127602"/>
            <a:ext cx="360000" cy="360000"/>
          </a:xfrm>
          <a:prstGeom prst="rightArrow">
            <a:avLst/>
          </a:prstGeom>
          <a:solidFill>
            <a:srgbClr val="004077"/>
          </a:solidFill>
          <a:ln>
            <a:solidFill>
              <a:srgbClr val="0040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A2EF4DA-3A44-42C7-8365-1F4C5353EA17}"/>
              </a:ext>
            </a:extLst>
          </p:cNvPr>
          <p:cNvSpPr/>
          <p:nvPr/>
        </p:nvSpPr>
        <p:spPr>
          <a:xfrm>
            <a:off x="0" y="165057"/>
            <a:ext cx="121920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54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imulation &amp;</a:t>
            </a:r>
            <a:r>
              <a:rPr lang="en-US" sz="5400" dirty="0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Calibration</a:t>
            </a:r>
          </a:p>
        </p:txBody>
      </p:sp>
    </p:spTree>
    <p:extLst>
      <p:ext uri="{BB962C8B-B14F-4D97-AF65-F5344CB8AC3E}">
        <p14:creationId xmlns:p14="http://schemas.microsoft.com/office/powerpoint/2010/main" val="42086457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65CFF2A9-044D-4689-8F74-8ED62E53BF06}"/>
              </a:ext>
            </a:extLst>
          </p:cNvPr>
          <p:cNvSpPr/>
          <p:nvPr/>
        </p:nvSpPr>
        <p:spPr>
          <a:xfrm>
            <a:off x="3658" y="57111"/>
            <a:ext cx="121920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5400" dirty="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imulation : </a:t>
            </a:r>
            <a:r>
              <a:rPr lang="en-US" sz="5400" dirty="0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CM </a:t>
            </a:r>
            <a:r>
              <a:rPr lang="en-US" dirty="0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Energy Conservation Measures)</a:t>
            </a:r>
            <a:endParaRPr lang="en-US" sz="2800" dirty="0">
              <a:solidFill>
                <a:srgbClr val="A0205D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5" name="Image 14" descr="Une image contenant côté, noir, ordinateur, écran&#10;&#10;Description générée automatiquement">
            <a:extLst>
              <a:ext uri="{FF2B5EF4-FFF2-40B4-BE49-F238E27FC236}">
                <a16:creationId xmlns:a16="http://schemas.microsoft.com/office/drawing/2014/main" id="{C47D564C-33A3-405D-8832-13AF28725B1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125" b="59071"/>
          <a:stretch/>
        </p:blipFill>
        <p:spPr>
          <a:xfrm>
            <a:off x="3730164" y="1144757"/>
            <a:ext cx="5133424" cy="2772000"/>
          </a:xfrm>
          <a:prstGeom prst="rect">
            <a:avLst/>
          </a:prstGeom>
        </p:spPr>
      </p:pic>
      <p:sp>
        <p:nvSpPr>
          <p:cNvPr id="16" name="ZoneTexte 15">
            <a:extLst>
              <a:ext uri="{FF2B5EF4-FFF2-40B4-BE49-F238E27FC236}">
                <a16:creationId xmlns:a16="http://schemas.microsoft.com/office/drawing/2014/main" id="{7A10A909-28CE-448C-964E-47B3679B472D}"/>
              </a:ext>
            </a:extLst>
          </p:cNvPr>
          <p:cNvSpPr txBox="1"/>
          <p:nvPr/>
        </p:nvSpPr>
        <p:spPr>
          <a:xfrm>
            <a:off x="283716" y="2131774"/>
            <a:ext cx="3165879" cy="9534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000" b="1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tep 1 </a:t>
            </a:r>
          </a:p>
          <a:p>
            <a:pPr marR="0" lvl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000" b="1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odel calibration</a:t>
            </a:r>
            <a:endParaRPr lang="en-US" sz="2000" b="1">
              <a:solidFill>
                <a:srgbClr val="123F75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9" name="Groupe 8">
            <a:extLst>
              <a:ext uri="{FF2B5EF4-FFF2-40B4-BE49-F238E27FC236}">
                <a16:creationId xmlns:a16="http://schemas.microsoft.com/office/drawing/2014/main" id="{4E16C6BA-B19A-4903-B784-5E996468C4EF}"/>
              </a:ext>
            </a:extLst>
          </p:cNvPr>
          <p:cNvGrpSpPr/>
          <p:nvPr/>
        </p:nvGrpSpPr>
        <p:grpSpPr>
          <a:xfrm>
            <a:off x="6096000" y="3767063"/>
            <a:ext cx="5835626" cy="3025399"/>
            <a:chOff x="6096000" y="2026920"/>
            <a:chExt cx="5835626" cy="3025399"/>
          </a:xfrm>
        </p:grpSpPr>
        <p:pic>
          <p:nvPicPr>
            <p:cNvPr id="11" name="Image 10" descr="Une image contenant capture d’écran&#10;&#10;Description générée automatiquement">
              <a:extLst>
                <a:ext uri="{FF2B5EF4-FFF2-40B4-BE49-F238E27FC236}">
                  <a16:creationId xmlns:a16="http://schemas.microsoft.com/office/drawing/2014/main" id="{9F34586F-8F24-4173-920B-816B1F51B69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10" t="16444" r="9737" b="36148"/>
            <a:stretch/>
          </p:blipFill>
          <p:spPr>
            <a:xfrm>
              <a:off x="6096000" y="2026920"/>
              <a:ext cx="5835626" cy="2525655"/>
            </a:xfrm>
            <a:prstGeom prst="rect">
              <a:avLst/>
            </a:prstGeom>
          </p:spPr>
        </p:pic>
        <p:pic>
          <p:nvPicPr>
            <p:cNvPr id="13" name="Image 12">
              <a:extLst>
                <a:ext uri="{FF2B5EF4-FFF2-40B4-BE49-F238E27FC236}">
                  <a16:creationId xmlns:a16="http://schemas.microsoft.com/office/drawing/2014/main" id="{E7C053A1-A655-4B66-8EC5-EBDAEB1B8D4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667" t="69317" r="11429" b="16807"/>
            <a:stretch/>
          </p:blipFill>
          <p:spPr>
            <a:xfrm>
              <a:off x="6264934" y="4354194"/>
              <a:ext cx="5226026" cy="698125"/>
            </a:xfrm>
            <a:prstGeom prst="rect">
              <a:avLst/>
            </a:prstGeom>
          </p:spPr>
        </p:pic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0B9D44F8-5FB6-4DF5-BED5-2C8241F7AE1C}"/>
              </a:ext>
            </a:extLst>
          </p:cNvPr>
          <p:cNvGrpSpPr/>
          <p:nvPr/>
        </p:nvGrpSpPr>
        <p:grpSpPr>
          <a:xfrm>
            <a:off x="565174" y="3838183"/>
            <a:ext cx="5226026" cy="2946399"/>
            <a:chOff x="653141" y="1529511"/>
            <a:chExt cx="8064139" cy="4546510"/>
          </a:xfrm>
        </p:grpSpPr>
        <p:pic>
          <p:nvPicPr>
            <p:cNvPr id="18" name="Image 17">
              <a:extLst>
                <a:ext uri="{FF2B5EF4-FFF2-40B4-BE49-F238E27FC236}">
                  <a16:creationId xmlns:a16="http://schemas.microsoft.com/office/drawing/2014/main" id="{477B307B-9E76-402D-8EF6-B0D09CAAA7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667" t="16641" r="11429" b="38798"/>
            <a:stretch/>
          </p:blipFill>
          <p:spPr>
            <a:xfrm>
              <a:off x="653141" y="1529511"/>
              <a:ext cx="8064139" cy="3459356"/>
            </a:xfrm>
            <a:prstGeom prst="rect">
              <a:avLst/>
            </a:prstGeom>
          </p:spPr>
        </p:pic>
        <p:pic>
          <p:nvPicPr>
            <p:cNvPr id="19" name="Image 18">
              <a:extLst>
                <a:ext uri="{FF2B5EF4-FFF2-40B4-BE49-F238E27FC236}">
                  <a16:creationId xmlns:a16="http://schemas.microsoft.com/office/drawing/2014/main" id="{09EF87BB-0D9E-4591-991B-0A158AB8D9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667" t="69317" r="11429" b="16807"/>
            <a:stretch/>
          </p:blipFill>
          <p:spPr>
            <a:xfrm>
              <a:off x="653141" y="4998763"/>
              <a:ext cx="8064139" cy="1077258"/>
            </a:xfrm>
            <a:prstGeom prst="rect">
              <a:avLst/>
            </a:prstGeom>
          </p:spPr>
        </p:pic>
      </p:grpSp>
      <p:sp>
        <p:nvSpPr>
          <p:cNvPr id="20" name="Flèche : droite 19">
            <a:extLst>
              <a:ext uri="{FF2B5EF4-FFF2-40B4-BE49-F238E27FC236}">
                <a16:creationId xmlns:a16="http://schemas.microsoft.com/office/drawing/2014/main" id="{3B739756-0AC6-40AA-8ADF-D7E1633FD451}"/>
              </a:ext>
            </a:extLst>
          </p:cNvPr>
          <p:cNvSpPr/>
          <p:nvPr/>
        </p:nvSpPr>
        <p:spPr>
          <a:xfrm rot="5400000">
            <a:off x="6744897" y="4173925"/>
            <a:ext cx="455828" cy="298697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5AE3100B-4782-4302-9F12-53B552191671}"/>
              </a:ext>
            </a:extLst>
          </p:cNvPr>
          <p:cNvCxnSpPr/>
          <p:nvPr/>
        </p:nvCxnSpPr>
        <p:spPr>
          <a:xfrm>
            <a:off x="1198880" y="4595103"/>
            <a:ext cx="10292080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lèche : droite 21">
            <a:extLst>
              <a:ext uri="{FF2B5EF4-FFF2-40B4-BE49-F238E27FC236}">
                <a16:creationId xmlns:a16="http://schemas.microsoft.com/office/drawing/2014/main" id="{1F6B5775-6BAB-4220-8323-2E357977529F}"/>
              </a:ext>
            </a:extLst>
          </p:cNvPr>
          <p:cNvSpPr/>
          <p:nvPr/>
        </p:nvSpPr>
        <p:spPr>
          <a:xfrm rot="5400000">
            <a:off x="7148985" y="4602171"/>
            <a:ext cx="455828" cy="298697"/>
          </a:xfrm>
          <a:prstGeom prst="rightArrow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E1645FAF-4287-4D7A-85A2-77A574893594}"/>
              </a:ext>
            </a:extLst>
          </p:cNvPr>
          <p:cNvSpPr txBox="1"/>
          <p:nvPr/>
        </p:nvSpPr>
        <p:spPr>
          <a:xfrm>
            <a:off x="7092599" y="4139173"/>
            <a:ext cx="568599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Gotham" panose="02000504050000020004" pitchFamily="2" charset="0"/>
                <a:ea typeface="Meiryo" panose="020B0604030504040204" pitchFamily="34" charset="-128"/>
              </a:rPr>
              <a:t>%</a:t>
            </a:r>
          </a:p>
        </p:txBody>
      </p:sp>
      <p:cxnSp>
        <p:nvCxnSpPr>
          <p:cNvPr id="24" name="Connecteur droit 23">
            <a:extLst>
              <a:ext uri="{FF2B5EF4-FFF2-40B4-BE49-F238E27FC236}">
                <a16:creationId xmlns:a16="http://schemas.microsoft.com/office/drawing/2014/main" id="{428B681C-A539-4893-9216-32042D4EADE1}"/>
              </a:ext>
            </a:extLst>
          </p:cNvPr>
          <p:cNvCxnSpPr/>
          <p:nvPr/>
        </p:nvCxnSpPr>
        <p:spPr>
          <a:xfrm>
            <a:off x="1219200" y="5037063"/>
            <a:ext cx="10292080" cy="0"/>
          </a:xfrm>
          <a:prstGeom prst="line">
            <a:avLst/>
          </a:prstGeom>
          <a:ln w="1905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ZoneTexte 30">
            <a:extLst>
              <a:ext uri="{FF2B5EF4-FFF2-40B4-BE49-F238E27FC236}">
                <a16:creationId xmlns:a16="http://schemas.microsoft.com/office/drawing/2014/main" id="{35190EB1-EA44-4957-A2EA-05C67B12A5EC}"/>
              </a:ext>
            </a:extLst>
          </p:cNvPr>
          <p:cNvSpPr txBox="1"/>
          <p:nvPr/>
        </p:nvSpPr>
        <p:spPr>
          <a:xfrm>
            <a:off x="8556067" y="2131774"/>
            <a:ext cx="359822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000" b="1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tep 2 </a:t>
            </a:r>
          </a:p>
          <a:p>
            <a:pPr marR="0" lv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000" b="1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lculation of gains </a:t>
            </a:r>
            <a:br>
              <a:rPr lang="en-US" sz="2000" b="1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2000" b="1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nd costs of ECM</a:t>
            </a:r>
            <a:endParaRPr kumimoji="0" lang="en-US" sz="2000" b="1" i="0" u="none" strike="noStrike" kern="1200" cap="none" spc="0" normalizeH="0" baseline="0">
              <a:ln>
                <a:noFill/>
              </a:ln>
              <a:solidFill>
                <a:srgbClr val="123F7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321AE4-9149-44C4-9CEB-F83BFDAFEB7D}"/>
              </a:ext>
            </a:extLst>
          </p:cNvPr>
          <p:cNvSpPr/>
          <p:nvPr/>
        </p:nvSpPr>
        <p:spPr>
          <a:xfrm>
            <a:off x="5797485" y="1190070"/>
            <a:ext cx="274283" cy="279759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DD4812D7-43DA-4B89-8737-8ECB31759487}"/>
              </a:ext>
            </a:extLst>
          </p:cNvPr>
          <p:cNvCxnSpPr>
            <a:cxnSpLocks/>
          </p:cNvCxnSpPr>
          <p:nvPr/>
        </p:nvCxnSpPr>
        <p:spPr>
          <a:xfrm>
            <a:off x="5913751" y="1297789"/>
            <a:ext cx="0" cy="5414096"/>
          </a:xfrm>
          <a:prstGeom prst="line">
            <a:avLst/>
          </a:prstGeom>
          <a:ln w="12700">
            <a:solidFill>
              <a:srgbClr val="0140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Espace réservé du numéro de diapositive 1">
            <a:extLst>
              <a:ext uri="{FF2B5EF4-FFF2-40B4-BE49-F238E27FC236}">
                <a16:creationId xmlns:a16="http://schemas.microsoft.com/office/drawing/2014/main" id="{8C4162B9-7D4A-40A7-AF2A-3F81634789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71302"/>
            <a:ext cx="2743200" cy="365125"/>
          </a:xfrm>
        </p:spPr>
        <p:txBody>
          <a:bodyPr/>
          <a:lstStyle/>
          <a:p>
            <a:fld id="{0A782538-02AD-4D54-ABDF-1108B5987306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02684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BD41598C-1EEC-4549-9D9E-8430408012CF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5616" y="101975"/>
            <a:ext cx="6920754" cy="679620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0694798-1FB2-4134-A40C-7378FC158057}"/>
              </a:ext>
            </a:extLst>
          </p:cNvPr>
          <p:cNvSpPr/>
          <p:nvPr/>
        </p:nvSpPr>
        <p:spPr>
          <a:xfrm>
            <a:off x="4186510" y="2761129"/>
            <a:ext cx="2160494" cy="132556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4" name="Titre 1">
            <a:extLst>
              <a:ext uri="{FF2B5EF4-FFF2-40B4-BE49-F238E27FC236}">
                <a16:creationId xmlns:a16="http://schemas.microsoft.com/office/drawing/2014/main" id="{8A88A47E-A267-404A-9B1D-04E26DBAFF07}"/>
              </a:ext>
            </a:extLst>
          </p:cNvPr>
          <p:cNvSpPr txBox="1">
            <a:spLocks/>
          </p:cNvSpPr>
          <p:nvPr/>
        </p:nvSpPr>
        <p:spPr>
          <a:xfrm>
            <a:off x="-7" y="3497206"/>
            <a:ext cx="12192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fr-FR" sz="6600" b="1">
                <a:solidFill>
                  <a:srgbClr val="123F75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NERGY ACCOUNTING</a:t>
            </a:r>
          </a:p>
          <a:p>
            <a:pPr algn="ctr">
              <a:lnSpc>
                <a:spcPct val="150000"/>
              </a:lnSpc>
            </a:pPr>
            <a:r>
              <a:rPr lang="fr-FR" sz="6600" b="1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LIBRI</a:t>
            </a:r>
            <a:br>
              <a:rPr lang="fr-FR" sz="7200" b="1">
                <a:solidFill>
                  <a:srgbClr val="123F75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fr-BE" sz="720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62074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98C761B-82B2-474C-B368-C72E8928DA2D}"/>
              </a:ext>
            </a:extLst>
          </p:cNvPr>
          <p:cNvSpPr/>
          <p:nvPr/>
        </p:nvSpPr>
        <p:spPr>
          <a:xfrm>
            <a:off x="0" y="0"/>
            <a:ext cx="1219200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600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nergy </a:t>
            </a:r>
            <a:r>
              <a:rPr lang="fr-FR" sz="6000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onitoring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FC0C2BD8-0597-40B7-A740-F18DCF13A1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51220" y="1069740"/>
            <a:ext cx="7889559" cy="2587860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C8DE0D96-24E4-4A2A-BA4D-0C3803D6CF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1220" y="3842621"/>
            <a:ext cx="7912813" cy="2900839"/>
          </a:xfrm>
          <a:prstGeom prst="rect">
            <a:avLst/>
          </a:prstGeom>
        </p:spPr>
      </p:pic>
      <p:sp>
        <p:nvSpPr>
          <p:cNvPr id="7" name="Espace réservé du numéro de diapositive 1">
            <a:extLst>
              <a:ext uri="{FF2B5EF4-FFF2-40B4-BE49-F238E27FC236}">
                <a16:creationId xmlns:a16="http://schemas.microsoft.com/office/drawing/2014/main" id="{97E94B30-052D-4366-947F-B0AF8A264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71302"/>
            <a:ext cx="2743200" cy="365125"/>
          </a:xfrm>
        </p:spPr>
        <p:txBody>
          <a:bodyPr/>
          <a:lstStyle/>
          <a:p>
            <a:fld id="{0A782538-02AD-4D54-ABDF-1108B5987306}" type="slidenum">
              <a:rPr lang="fr-BE" smtClean="0"/>
              <a:t>17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6381091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98C761B-82B2-474C-B368-C72E8928DA2D}"/>
              </a:ext>
            </a:extLst>
          </p:cNvPr>
          <p:cNvSpPr/>
          <p:nvPr/>
        </p:nvSpPr>
        <p:spPr>
          <a:xfrm>
            <a:off x="0" y="0"/>
            <a:ext cx="12192000" cy="1015663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fr-FR" sz="6000" dirty="0">
                <a:solidFill>
                  <a:srgbClr val="014076"/>
                </a:solidFill>
                <a:latin typeface="Verdana"/>
                <a:ea typeface="Verdana"/>
                <a:cs typeface="Verdana"/>
              </a:rPr>
              <a:t>Temperature </a:t>
            </a:r>
            <a:r>
              <a:rPr lang="fr-FR" sz="6000" dirty="0">
                <a:solidFill>
                  <a:srgbClr val="9D1E5C"/>
                </a:solidFill>
                <a:latin typeface="Verdana"/>
                <a:ea typeface="Verdana"/>
                <a:cs typeface="Verdana"/>
              </a:rPr>
              <a:t>monitoring</a:t>
            </a:r>
            <a:endParaRPr lang="fr-BE" sz="6000" dirty="0">
              <a:solidFill>
                <a:srgbClr val="9D1E5C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09405BB4-ADFE-4D69-9BC2-7C1EE6744B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18139" y="992828"/>
            <a:ext cx="7555721" cy="5760000"/>
          </a:xfrm>
          <a:prstGeom prst="rect">
            <a:avLst/>
          </a:prstGeom>
        </p:spPr>
      </p:pic>
      <p:sp>
        <p:nvSpPr>
          <p:cNvPr id="5" name="Espace réservé du numéro de diapositive 1">
            <a:extLst>
              <a:ext uri="{FF2B5EF4-FFF2-40B4-BE49-F238E27FC236}">
                <a16:creationId xmlns:a16="http://schemas.microsoft.com/office/drawing/2014/main" id="{49F487DC-542D-4429-89C0-498CAFD5D3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71302"/>
            <a:ext cx="2743200" cy="365125"/>
          </a:xfrm>
        </p:spPr>
        <p:txBody>
          <a:bodyPr/>
          <a:lstStyle/>
          <a:p>
            <a:fld id="{0A782538-02AD-4D54-ABDF-1108B5987306}" type="slidenum">
              <a:rPr lang="fr-BE" smtClean="0"/>
              <a:t>18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09058066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98C761B-82B2-474C-B368-C72E8928DA2D}"/>
              </a:ext>
            </a:extLst>
          </p:cNvPr>
          <p:cNvSpPr/>
          <p:nvPr/>
        </p:nvSpPr>
        <p:spPr>
          <a:xfrm>
            <a:off x="0" y="0"/>
            <a:ext cx="1219200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60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nergy</a:t>
            </a:r>
            <a:r>
              <a:rPr lang="fr-FR" sz="6000" dirty="0">
                <a:solidFill>
                  <a:srgbClr val="9A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performance</a:t>
            </a:r>
          </a:p>
          <a:p>
            <a:pPr algn="ctr"/>
            <a:r>
              <a:rPr lang="fr-FR" sz="6000" dirty="0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endParaRPr lang="fr-BE" sz="6000" dirty="0">
              <a:solidFill>
                <a:srgbClr val="A0205D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F821B401-4C7A-484D-8B50-D8A1DFFFD7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0634" y="1010694"/>
            <a:ext cx="11730732" cy="5760000"/>
          </a:xfrm>
          <a:prstGeom prst="rect">
            <a:avLst/>
          </a:prstGeom>
        </p:spPr>
      </p:pic>
      <p:sp>
        <p:nvSpPr>
          <p:cNvPr id="5" name="Espace réservé du numéro de diapositive 1">
            <a:extLst>
              <a:ext uri="{FF2B5EF4-FFF2-40B4-BE49-F238E27FC236}">
                <a16:creationId xmlns:a16="http://schemas.microsoft.com/office/drawing/2014/main" id="{791558AE-D13B-4DEA-A004-201278E645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545476"/>
            <a:ext cx="2743200" cy="365125"/>
          </a:xfrm>
        </p:spPr>
        <p:txBody>
          <a:bodyPr/>
          <a:lstStyle/>
          <a:p>
            <a:fld id="{0A782538-02AD-4D54-ABDF-1108B5987306}" type="slidenum">
              <a:rPr lang="fr-BE" smtClean="0"/>
              <a:t>19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5664362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numéro de diapositive 1">
            <a:extLst>
              <a:ext uri="{FF2B5EF4-FFF2-40B4-BE49-F238E27FC236}">
                <a16:creationId xmlns:a16="http://schemas.microsoft.com/office/drawing/2014/main" id="{9FE0849A-A611-4B7B-90DB-17043AB6DA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545476"/>
            <a:ext cx="2743200" cy="365125"/>
          </a:xfrm>
        </p:spPr>
        <p:txBody>
          <a:bodyPr/>
          <a:lstStyle/>
          <a:p>
            <a:fld id="{0A782538-02AD-4D54-ABDF-1108B5987306}" type="slidenum">
              <a:rPr lang="en-US" smtClean="0"/>
              <a:t>2</a:t>
            </a:fld>
            <a:endParaRPr lang="en-US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DDB094AE-0E70-41C8-B6AF-ABF0C1DA316C}"/>
              </a:ext>
            </a:extLst>
          </p:cNvPr>
          <p:cNvSpPr txBox="1"/>
          <p:nvPr/>
        </p:nvSpPr>
        <p:spPr>
          <a:xfrm>
            <a:off x="2611224" y="1838791"/>
            <a:ext cx="8870623" cy="1077218"/>
          </a:xfrm>
          <a:prstGeom prst="rect">
            <a:avLst/>
          </a:prstGeom>
          <a:solidFill>
            <a:schemeClr val="bg1"/>
          </a:solidFill>
          <a:ln w="28575">
            <a:solidFill>
              <a:srgbClr val="003E74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600" dirty="0" err="1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legated</a:t>
            </a:r>
            <a:r>
              <a:rPr lang="fr-FR" sz="16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mission by the </a:t>
            </a:r>
            <a:r>
              <a:rPr lang="fr-FR" sz="1600" dirty="0" err="1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Walloon</a:t>
            </a:r>
            <a:r>
              <a:rPr lang="fr-FR" sz="16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fr-FR" sz="1600" dirty="0" err="1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government</a:t>
            </a:r>
            <a:br>
              <a:rPr lang="fr-FR" sz="16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16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corporated within </a:t>
            </a:r>
            <a:r>
              <a:rPr lang="en-US" sz="1600" dirty="0" err="1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.E.Fin</a:t>
            </a:r>
            <a:r>
              <a:rPr lang="en-US" sz="16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600" dirty="0" err="1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.a.</a:t>
            </a:r>
            <a:r>
              <a:rPr lang="en-US" sz="16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11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49% owned by SRIW Environment and 51% by the Walloon region)</a:t>
            </a:r>
            <a:br>
              <a:rPr lang="en-US" sz="10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16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inanced by the European Investment Bank</a:t>
            </a:r>
            <a:endParaRPr lang="en-US" sz="500" dirty="0">
              <a:solidFill>
                <a:srgbClr val="003E74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ctr"/>
            <a:r>
              <a:rPr lang="en-US" sz="16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inanced by the Walloon Region</a:t>
            </a:r>
            <a:endParaRPr lang="fr-FR" sz="1600" dirty="0">
              <a:solidFill>
                <a:srgbClr val="003E74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3ECE2A1D-90A1-48FF-90A5-54905DE9627A}"/>
              </a:ext>
            </a:extLst>
          </p:cNvPr>
          <p:cNvSpPr txBox="1"/>
          <p:nvPr/>
        </p:nvSpPr>
        <p:spPr>
          <a:xfrm>
            <a:off x="791850" y="1829362"/>
            <a:ext cx="1819373" cy="1116000"/>
          </a:xfrm>
          <a:prstGeom prst="rect">
            <a:avLst/>
          </a:prstGeom>
          <a:solidFill>
            <a:srgbClr val="9D1E5C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2400" b="1" dirty="0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g</a:t>
            </a:r>
          </a:p>
          <a:p>
            <a:pPr algn="ctr"/>
            <a:r>
              <a:rPr lang="fr-FR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RAME</a:t>
            </a:r>
            <a:endParaRPr lang="fr-BE" sz="1800" b="1" dirty="0">
              <a:solidFill>
                <a:schemeClr val="bg1"/>
              </a:solidFill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AF9D869E-BDBD-4361-B03D-D09A2087DE49}"/>
              </a:ext>
            </a:extLst>
          </p:cNvPr>
          <p:cNvSpPr txBox="1"/>
          <p:nvPr/>
        </p:nvSpPr>
        <p:spPr>
          <a:xfrm>
            <a:off x="2611223" y="3282940"/>
            <a:ext cx="8870623" cy="1569660"/>
          </a:xfrm>
          <a:prstGeom prst="rect">
            <a:avLst/>
          </a:prstGeom>
          <a:solidFill>
            <a:schemeClr val="bg1"/>
          </a:solidFill>
          <a:ln w="28575">
            <a:solidFill>
              <a:srgbClr val="003E74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novate public buildings </a:t>
            </a:r>
          </a:p>
          <a:p>
            <a:pPr algn="ctr"/>
            <a:r>
              <a:rPr lang="en-US" sz="16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duce energy consumption in public buildings</a:t>
            </a:r>
            <a:br>
              <a:rPr lang="en-US" sz="16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16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trive for European CO2 targets (2030 - 2050)</a:t>
            </a:r>
          </a:p>
          <a:p>
            <a:pPr algn="ctr"/>
            <a:r>
              <a:rPr lang="en-US" sz="16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mote local employment and training </a:t>
            </a:r>
            <a:br>
              <a:rPr lang="en-US" sz="16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16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mprove the indoor comfort of buildings</a:t>
            </a:r>
          </a:p>
          <a:p>
            <a:pPr algn="ctr"/>
            <a:r>
              <a:rPr lang="en-US" sz="16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mbat fuel poverty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CC529C64-3ADF-4011-B1B7-0D363AA8B4B9}"/>
              </a:ext>
            </a:extLst>
          </p:cNvPr>
          <p:cNvSpPr txBox="1"/>
          <p:nvPr/>
        </p:nvSpPr>
        <p:spPr>
          <a:xfrm>
            <a:off x="791849" y="3282934"/>
            <a:ext cx="1819374" cy="1584000"/>
          </a:xfrm>
          <a:prstGeom prst="rect">
            <a:avLst/>
          </a:prstGeom>
          <a:solidFill>
            <a:srgbClr val="9D1E5C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4200" b="1" dirty="0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g</a:t>
            </a:r>
          </a:p>
          <a:p>
            <a:pPr algn="ctr"/>
            <a:r>
              <a:rPr lang="fr-FR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GOALS</a:t>
            </a:r>
            <a:endParaRPr lang="fr-BE" sz="1800" b="1" dirty="0">
              <a:solidFill>
                <a:schemeClr val="bg1"/>
              </a:solidFill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B6705EE5-A40F-4328-B581-38E6AB285B51}"/>
              </a:ext>
            </a:extLst>
          </p:cNvPr>
          <p:cNvSpPr txBox="1"/>
          <p:nvPr/>
        </p:nvSpPr>
        <p:spPr>
          <a:xfrm>
            <a:off x="2611223" y="5221971"/>
            <a:ext cx="8870623" cy="1323439"/>
          </a:xfrm>
          <a:prstGeom prst="rect">
            <a:avLst/>
          </a:prstGeom>
          <a:solidFill>
            <a:schemeClr val="bg1"/>
          </a:solidFill>
          <a:ln w="28575">
            <a:solidFill>
              <a:srgbClr val="003E74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alization of energy studies</a:t>
            </a:r>
          </a:p>
          <a:p>
            <a:pPr algn="ctr"/>
            <a:r>
              <a:rPr lang="en-US" sz="16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reation of buildings pools</a:t>
            </a:r>
          </a:p>
          <a:p>
            <a:pPr algn="ctr"/>
            <a:r>
              <a:rPr lang="en-US" sz="16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dentification of possible financing options</a:t>
            </a:r>
          </a:p>
          <a:p>
            <a:pPr algn="ctr"/>
            <a:r>
              <a:rPr lang="en-US" sz="16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ll for bids, creating tender specifications and negotiation</a:t>
            </a:r>
          </a:p>
          <a:p>
            <a:pPr algn="ctr"/>
            <a:r>
              <a:rPr lang="en-US" sz="160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itiation</a:t>
            </a:r>
            <a:r>
              <a:rPr lang="en-US" sz="16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of Energy Performance Contracts (EPC) and D&amp;B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93C18B50-2660-47F5-82F0-E64D62EE7BC9}"/>
              </a:ext>
            </a:extLst>
          </p:cNvPr>
          <p:cNvSpPr txBox="1"/>
          <p:nvPr/>
        </p:nvSpPr>
        <p:spPr>
          <a:xfrm>
            <a:off x="791849" y="5221964"/>
            <a:ext cx="1819374" cy="1332000"/>
          </a:xfrm>
          <a:prstGeom prst="rect">
            <a:avLst/>
          </a:prstGeom>
          <a:solidFill>
            <a:srgbClr val="9D1E5C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3200" b="1" dirty="0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g</a:t>
            </a:r>
          </a:p>
          <a:p>
            <a:pPr algn="ctr"/>
            <a:r>
              <a:rPr lang="fr-FR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ISSIONS</a:t>
            </a:r>
            <a:endParaRPr lang="fr-BE" sz="1800" b="1" dirty="0">
              <a:solidFill>
                <a:schemeClr val="bg1"/>
              </a:solidFill>
            </a:endParaRPr>
          </a:p>
        </p:txBody>
      </p:sp>
      <p:sp>
        <p:nvSpPr>
          <p:cNvPr id="13" name="Titre 1">
            <a:extLst>
              <a:ext uri="{FF2B5EF4-FFF2-40B4-BE49-F238E27FC236}">
                <a16:creationId xmlns:a16="http://schemas.microsoft.com/office/drawing/2014/main" id="{A3B8F510-35DA-4B02-9898-1414419EE2FE}"/>
              </a:ext>
            </a:extLst>
          </p:cNvPr>
          <p:cNvSpPr txBox="1">
            <a:spLocks/>
          </p:cNvSpPr>
          <p:nvPr/>
        </p:nvSpPr>
        <p:spPr>
          <a:xfrm>
            <a:off x="275208" y="0"/>
            <a:ext cx="9428086" cy="13365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10000"/>
              </a:lnSpc>
            </a:pPr>
            <a:r>
              <a:rPr lang="en-US" sz="5400" dirty="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</a:t>
            </a:r>
            <a:r>
              <a:rPr lang="en-US" sz="54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nergy renovation </a:t>
            </a:r>
            <a:r>
              <a:rPr lang="en-US" sz="5400" dirty="0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y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F2BAFE51-B6B5-4987-AC74-509DBC0155D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1442" y="70854"/>
            <a:ext cx="1466390" cy="14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117352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ADB2A0B-DAFF-4F1E-ABBE-FB82D1ADBDC2}"/>
              </a:ext>
            </a:extLst>
          </p:cNvPr>
          <p:cNvSpPr/>
          <p:nvPr/>
        </p:nvSpPr>
        <p:spPr>
          <a:xfrm>
            <a:off x="-179109" y="-75414"/>
            <a:ext cx="12594210" cy="7343480"/>
          </a:xfrm>
          <a:prstGeom prst="rect">
            <a:avLst/>
          </a:prstGeom>
          <a:solidFill>
            <a:srgbClr val="01407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id="{0EC52AFC-7CBA-46F3-B8BB-A3D2BE2F9F16}"/>
              </a:ext>
            </a:extLst>
          </p:cNvPr>
          <p:cNvSpPr/>
          <p:nvPr/>
        </p:nvSpPr>
        <p:spPr>
          <a:xfrm>
            <a:off x="3396000" y="729000"/>
            <a:ext cx="5400000" cy="5400000"/>
          </a:xfrm>
          <a:prstGeom prst="ellipse">
            <a:avLst/>
          </a:prstGeom>
          <a:solidFill>
            <a:srgbClr val="A0205D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id="{DD62BE35-B6F2-471E-ADDB-A6311FE49478}"/>
              </a:ext>
            </a:extLst>
          </p:cNvPr>
          <p:cNvSpPr/>
          <p:nvPr/>
        </p:nvSpPr>
        <p:spPr>
          <a:xfrm>
            <a:off x="5237770" y="729000"/>
            <a:ext cx="5400000" cy="5400000"/>
          </a:xfrm>
          <a:prstGeom prst="ellipse">
            <a:avLst/>
          </a:prstGeom>
          <a:solidFill>
            <a:srgbClr val="A0205D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B297F5A3-163D-43EF-B0C8-05A3D440C2BD}"/>
              </a:ext>
            </a:extLst>
          </p:cNvPr>
          <p:cNvSpPr/>
          <p:nvPr/>
        </p:nvSpPr>
        <p:spPr>
          <a:xfrm>
            <a:off x="1554230" y="729000"/>
            <a:ext cx="5400000" cy="5400000"/>
          </a:xfrm>
          <a:prstGeom prst="ellipse">
            <a:avLst/>
          </a:prstGeom>
          <a:solidFill>
            <a:srgbClr val="A0205D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04CB144-5DD3-43CE-B8A0-9676BBED4B39}"/>
              </a:ext>
            </a:extLst>
          </p:cNvPr>
          <p:cNvSpPr/>
          <p:nvPr/>
        </p:nvSpPr>
        <p:spPr>
          <a:xfrm>
            <a:off x="-179109" y="1618177"/>
            <a:ext cx="12594210" cy="26118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250000"/>
              </a:lnSpc>
            </a:pPr>
            <a:r>
              <a:rPr lang="fr-FR" sz="3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TEP 4 </a:t>
            </a:r>
          </a:p>
          <a:p>
            <a:pPr algn="ctr">
              <a:lnSpc>
                <a:spcPct val="250000"/>
              </a:lnSpc>
            </a:pPr>
            <a:r>
              <a:rPr lang="fr-FR" sz="3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inancial </a:t>
            </a:r>
            <a:r>
              <a:rPr lang="fr-FR" sz="36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nalysis</a:t>
            </a:r>
            <a:endParaRPr lang="fr-FR" sz="36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344351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8EC9F62-09EB-4BD4-A706-509F1A744A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2273" y="1470582"/>
            <a:ext cx="11388365" cy="1743960"/>
          </a:xfrm>
          <a:solidFill>
            <a:srgbClr val="003E74"/>
          </a:solidFill>
        </p:spPr>
        <p:txBody>
          <a:bodyPr>
            <a:normAutofit fontScale="92500"/>
          </a:bodyPr>
          <a:lstStyle/>
          <a:p>
            <a:pPr marL="0" indent="0" algn="ctr">
              <a:buNone/>
            </a:pPr>
            <a:b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24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noWatt</a:t>
            </a:r>
            <a:r>
              <a:rPr lang="en-US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co-financed by EIB and Belgian Walloon Region</a:t>
            </a:r>
          </a:p>
          <a:p>
            <a:pPr marL="0" indent="0" algn="ctr">
              <a:buNone/>
            </a:pPr>
            <a:r>
              <a:rPr lang="en-US" sz="24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noWatt</a:t>
            </a:r>
            <a:r>
              <a:rPr lang="en-US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free support through studies and public tendering</a:t>
            </a:r>
          </a:p>
          <a:p>
            <a:pPr marL="0" indent="0" algn="ctr">
              <a:buNone/>
            </a:pPr>
            <a:r>
              <a:rPr lang="en-US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sts of renovation projects supported by adhering Walloon Public Entities</a:t>
            </a:r>
          </a:p>
          <a:p>
            <a:pPr algn="ctr"/>
            <a:endParaRPr lang="en-US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" name="Espace réservé du numéro de diapositive 1">
            <a:extLst>
              <a:ext uri="{FF2B5EF4-FFF2-40B4-BE49-F238E27FC236}">
                <a16:creationId xmlns:a16="http://schemas.microsoft.com/office/drawing/2014/main" id="{6472D98B-CD5F-464C-8F66-41D4B16210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fld id="{0A782538-02AD-4D54-ABDF-1108B5987306}" type="slidenum">
              <a:rPr lang="fr-BE" smtClean="0"/>
              <a:t>21</a:t>
            </a:fld>
            <a:endParaRPr lang="fr-BE"/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9787A661-D12D-4B37-896C-E62F5354AF7B}"/>
              </a:ext>
            </a:extLst>
          </p:cNvPr>
          <p:cNvSpPr txBox="1">
            <a:spLocks/>
          </p:cNvSpPr>
          <p:nvPr/>
        </p:nvSpPr>
        <p:spPr>
          <a:xfrm>
            <a:off x="452573" y="3737633"/>
            <a:ext cx="11404478" cy="398331"/>
          </a:xfrm>
          <a:prstGeom prst="rect">
            <a:avLst/>
          </a:prstGeom>
          <a:solidFill>
            <a:srgbClr val="9D1E5C"/>
          </a:solidFill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echnical team (project leaders in charge) identifi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84CFA50-6D97-403C-A2BB-D3D9B1925D5D}"/>
              </a:ext>
            </a:extLst>
          </p:cNvPr>
          <p:cNvSpPr/>
          <p:nvPr/>
        </p:nvSpPr>
        <p:spPr>
          <a:xfrm>
            <a:off x="0" y="136525"/>
            <a:ext cx="121920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54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inancing the </a:t>
            </a:r>
            <a:r>
              <a:rPr lang="fr-FR" sz="5400" dirty="0" err="1">
                <a:solidFill>
                  <a:srgbClr val="9A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novation</a:t>
            </a:r>
            <a:r>
              <a:rPr lang="fr-FR" sz="5400" dirty="0">
                <a:solidFill>
                  <a:srgbClr val="9A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projects</a:t>
            </a:r>
            <a:r>
              <a:rPr lang="fr-FR" sz="5400" dirty="0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endParaRPr lang="fr-BE" sz="5400" dirty="0">
              <a:solidFill>
                <a:srgbClr val="A0205D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Espace réservé du contenu 2">
            <a:extLst>
              <a:ext uri="{FF2B5EF4-FFF2-40B4-BE49-F238E27FC236}">
                <a16:creationId xmlns:a16="http://schemas.microsoft.com/office/drawing/2014/main" id="{B24C0B44-3D73-4AE6-87C5-21A982969B04}"/>
              </a:ext>
            </a:extLst>
          </p:cNvPr>
          <p:cNvSpPr txBox="1">
            <a:spLocks/>
          </p:cNvSpPr>
          <p:nvPr/>
        </p:nvSpPr>
        <p:spPr>
          <a:xfrm>
            <a:off x="462000" y="4135965"/>
            <a:ext cx="11368638" cy="2356910"/>
          </a:xfrm>
          <a:prstGeom prst="rect">
            <a:avLst/>
          </a:prstGeom>
          <a:ln w="28575">
            <a:solidFill>
              <a:srgbClr val="9D1E5C"/>
            </a:solidFill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en-US" sz="2000" dirty="0">
              <a:solidFill>
                <a:srgbClr val="003E74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Required actions on buildings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The cost of each action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The action plans on the building (</a:t>
            </a:r>
            <a:r>
              <a:rPr lang="en-US" sz="2000" dirty="0" err="1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Quickwin</a:t>
            </a:r>
            <a:r>
              <a:rPr lang="en-US" sz="20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/ Deep renovation) 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The historical energy cost (electrical and combustible)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The expected energy savings</a:t>
            </a:r>
          </a:p>
        </p:txBody>
      </p:sp>
    </p:spTree>
    <p:extLst>
      <p:ext uri="{BB962C8B-B14F-4D97-AF65-F5344CB8AC3E}">
        <p14:creationId xmlns:p14="http://schemas.microsoft.com/office/powerpoint/2010/main" val="338617377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numéro de diapositive 1">
            <a:extLst>
              <a:ext uri="{FF2B5EF4-FFF2-40B4-BE49-F238E27FC236}">
                <a16:creationId xmlns:a16="http://schemas.microsoft.com/office/drawing/2014/main" id="{6472D98B-CD5F-464C-8F66-41D4B16210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fld id="{0A782538-02AD-4D54-ABDF-1108B5987306}" type="slidenum">
              <a:rPr lang="fr-BE" smtClean="0"/>
              <a:t>22</a:t>
            </a:fld>
            <a:endParaRPr lang="fr-BE"/>
          </a:p>
        </p:txBody>
      </p:sp>
      <p:sp>
        <p:nvSpPr>
          <p:cNvPr id="10" name="Espace réservé du contenu 2">
            <a:extLst>
              <a:ext uri="{FF2B5EF4-FFF2-40B4-BE49-F238E27FC236}">
                <a16:creationId xmlns:a16="http://schemas.microsoft.com/office/drawing/2014/main" id="{7D35270C-3E28-4F13-8915-546B0CD2D81E}"/>
              </a:ext>
            </a:extLst>
          </p:cNvPr>
          <p:cNvSpPr txBox="1">
            <a:spLocks/>
          </p:cNvSpPr>
          <p:nvPr/>
        </p:nvSpPr>
        <p:spPr>
          <a:xfrm>
            <a:off x="452573" y="3737633"/>
            <a:ext cx="11303523" cy="398331"/>
          </a:xfrm>
          <a:prstGeom prst="rect">
            <a:avLst/>
          </a:prstGeom>
          <a:solidFill>
            <a:srgbClr val="9D1E5C"/>
          </a:solidFill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Global budget includes</a:t>
            </a:r>
          </a:p>
        </p:txBody>
      </p:sp>
      <p:sp>
        <p:nvSpPr>
          <p:cNvPr id="11" name="Espace réservé du contenu 2">
            <a:extLst>
              <a:ext uri="{FF2B5EF4-FFF2-40B4-BE49-F238E27FC236}">
                <a16:creationId xmlns:a16="http://schemas.microsoft.com/office/drawing/2014/main" id="{A62B583A-0D76-4C0F-87A8-7AEFE606042A}"/>
              </a:ext>
            </a:extLst>
          </p:cNvPr>
          <p:cNvSpPr txBox="1">
            <a:spLocks/>
          </p:cNvSpPr>
          <p:nvPr/>
        </p:nvSpPr>
        <p:spPr>
          <a:xfrm>
            <a:off x="462000" y="4135965"/>
            <a:ext cx="11268000" cy="2356910"/>
          </a:xfrm>
          <a:prstGeom prst="rect">
            <a:avLst/>
          </a:prstGeom>
          <a:ln w="28575">
            <a:solidFill>
              <a:srgbClr val="9D1E5C"/>
            </a:solidFill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en-US" sz="2000" dirty="0">
              <a:solidFill>
                <a:srgbClr val="003E74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Costs of works and studie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Additional costs included in the EPC contracts 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aintenance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otal warranty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easurement &amp; Verification (M&amp;V)</a:t>
            </a:r>
          </a:p>
          <a:p>
            <a:pPr marL="914400" lvl="2" indent="0">
              <a:buNone/>
            </a:pPr>
            <a:endParaRPr lang="en-US" sz="1600" dirty="0">
              <a:solidFill>
                <a:srgbClr val="003E74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2">
              <a:buFont typeface="Wingdings" panose="05000000000000000000" pitchFamily="2" charset="2"/>
              <a:buChar char="q"/>
            </a:pPr>
            <a:endParaRPr lang="en-US" sz="1600" dirty="0">
              <a:solidFill>
                <a:srgbClr val="003E74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" name="Espace réservé du contenu 2">
            <a:extLst>
              <a:ext uri="{FF2B5EF4-FFF2-40B4-BE49-F238E27FC236}">
                <a16:creationId xmlns:a16="http://schemas.microsoft.com/office/drawing/2014/main" id="{67B41033-1A4D-4FFD-B9FC-A8725B8CDFDD}"/>
              </a:ext>
            </a:extLst>
          </p:cNvPr>
          <p:cNvSpPr txBox="1">
            <a:spLocks/>
          </p:cNvSpPr>
          <p:nvPr/>
        </p:nvSpPr>
        <p:spPr>
          <a:xfrm>
            <a:off x="462000" y="466051"/>
            <a:ext cx="11303523" cy="398331"/>
          </a:xfrm>
          <a:prstGeom prst="rect">
            <a:avLst/>
          </a:prstGeom>
          <a:solidFill>
            <a:srgbClr val="003E74"/>
          </a:solidFill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inancial analysis establishes</a:t>
            </a:r>
          </a:p>
        </p:txBody>
      </p:sp>
      <p:sp>
        <p:nvSpPr>
          <p:cNvPr id="13" name="Espace réservé du contenu 2">
            <a:extLst>
              <a:ext uri="{FF2B5EF4-FFF2-40B4-BE49-F238E27FC236}">
                <a16:creationId xmlns:a16="http://schemas.microsoft.com/office/drawing/2014/main" id="{7603BF54-B123-486B-89A2-9EEC36F1193C}"/>
              </a:ext>
            </a:extLst>
          </p:cNvPr>
          <p:cNvSpPr txBox="1">
            <a:spLocks/>
          </p:cNvSpPr>
          <p:nvPr/>
        </p:nvSpPr>
        <p:spPr>
          <a:xfrm>
            <a:off x="471427" y="864383"/>
            <a:ext cx="11268000" cy="2356910"/>
          </a:xfrm>
          <a:prstGeom prst="rect">
            <a:avLst/>
          </a:prstGeom>
          <a:ln w="28575">
            <a:solidFill>
              <a:srgbClr val="003E74"/>
            </a:solidFill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en-US" sz="2000" dirty="0">
              <a:solidFill>
                <a:srgbClr val="003E74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A global budget  The cost of each action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A cash flows forecast on 20 or 30 years 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sz="2000" dirty="0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The rentability of the project (= Net Asset Value)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er site 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Globally per local authority </a:t>
            </a:r>
          </a:p>
        </p:txBody>
      </p:sp>
    </p:spTree>
    <p:extLst>
      <p:ext uri="{BB962C8B-B14F-4D97-AF65-F5344CB8AC3E}">
        <p14:creationId xmlns:p14="http://schemas.microsoft.com/office/powerpoint/2010/main" val="421504560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DFC36386-C89D-457F-BA1A-34B052F3F55D}"/>
              </a:ext>
            </a:extLst>
          </p:cNvPr>
          <p:cNvSpPr txBox="1">
            <a:spLocks/>
          </p:cNvSpPr>
          <p:nvPr/>
        </p:nvSpPr>
        <p:spPr>
          <a:xfrm>
            <a:off x="1268159" y="336872"/>
            <a:ext cx="9966643" cy="89880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spc="-6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3600" b="0" i="0" u="none" strike="noStrike" kern="1200" cap="none" spc="-60" normalizeH="0" baseline="0" noProof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Corbel" panose="020B0503020204020204"/>
              <a:ea typeface="+mj-ea"/>
              <a:cs typeface="+mj-cs"/>
            </a:endParaRPr>
          </a:p>
        </p:txBody>
      </p:sp>
      <p:sp>
        <p:nvSpPr>
          <p:cNvPr id="17" name="Espace réservé du numéro de diapositive 1">
            <a:extLst>
              <a:ext uri="{FF2B5EF4-FFF2-40B4-BE49-F238E27FC236}">
                <a16:creationId xmlns:a16="http://schemas.microsoft.com/office/drawing/2014/main" id="{6472D98B-CD5F-464C-8F66-41D4B16210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fld id="{0A782538-02AD-4D54-ABDF-1108B5987306}" type="slidenum">
              <a:rPr lang="fr-BE" smtClean="0"/>
              <a:t>23</a:t>
            </a:fld>
            <a:endParaRPr lang="fr-B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4815B41-FBCC-4F62-ACED-64CB7AB24462}"/>
              </a:ext>
            </a:extLst>
          </p:cNvPr>
          <p:cNvSpPr/>
          <p:nvPr/>
        </p:nvSpPr>
        <p:spPr>
          <a:xfrm>
            <a:off x="0" y="136525"/>
            <a:ext cx="121920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54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inancial </a:t>
            </a:r>
            <a:r>
              <a:rPr lang="fr-FR" sz="5400" dirty="0" err="1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nalysis</a:t>
            </a:r>
            <a:r>
              <a:rPr lang="fr-FR" sz="54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fr-FR" sz="5400" dirty="0">
                <a:solidFill>
                  <a:srgbClr val="9A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cess</a:t>
            </a:r>
            <a:r>
              <a:rPr lang="fr-FR" sz="5400" dirty="0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endParaRPr lang="fr-BE" sz="5400" dirty="0">
              <a:solidFill>
                <a:srgbClr val="A0205D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Espace réservé du contenu 2">
            <a:extLst>
              <a:ext uri="{FF2B5EF4-FFF2-40B4-BE49-F238E27FC236}">
                <a16:creationId xmlns:a16="http://schemas.microsoft.com/office/drawing/2014/main" id="{B91384D0-0D71-4485-AE4B-32C063CD9895}"/>
              </a:ext>
            </a:extLst>
          </p:cNvPr>
          <p:cNvSpPr txBox="1">
            <a:spLocks/>
          </p:cNvSpPr>
          <p:nvPr/>
        </p:nvSpPr>
        <p:spPr>
          <a:xfrm>
            <a:off x="254524" y="1612680"/>
            <a:ext cx="11664000" cy="396000"/>
          </a:xfrm>
          <a:prstGeom prst="rect">
            <a:avLst/>
          </a:prstGeom>
          <a:solidFill>
            <a:srgbClr val="9D1E5C"/>
          </a:solidFill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2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sh flows forecast on 20 – 30 years includes</a:t>
            </a:r>
          </a:p>
        </p:txBody>
      </p:sp>
      <p:sp>
        <p:nvSpPr>
          <p:cNvPr id="11" name="Espace réservé du contenu 2">
            <a:extLst>
              <a:ext uri="{FF2B5EF4-FFF2-40B4-BE49-F238E27FC236}">
                <a16:creationId xmlns:a16="http://schemas.microsoft.com/office/drawing/2014/main" id="{1FF2C508-9F68-45DB-9B32-E4BE2D523A4A}"/>
              </a:ext>
            </a:extLst>
          </p:cNvPr>
          <p:cNvSpPr txBox="1">
            <a:spLocks/>
          </p:cNvSpPr>
          <p:nvPr/>
        </p:nvSpPr>
        <p:spPr>
          <a:xfrm>
            <a:off x="273377" y="2011013"/>
            <a:ext cx="11613823" cy="4248385"/>
          </a:xfrm>
          <a:prstGeom prst="rect">
            <a:avLst/>
          </a:prstGeom>
          <a:ln w="28575">
            <a:solidFill>
              <a:srgbClr val="9D1E5C"/>
            </a:solidFill>
          </a:ln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en-US" sz="2000" dirty="0">
              <a:solidFill>
                <a:srgbClr val="003E74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1">
              <a:lnSpc>
                <a:spcPct val="100000"/>
              </a:lnSpc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Yearly costs </a:t>
            </a:r>
            <a:br>
              <a:rPr lang="en-US" sz="20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20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(works are financed by a classical bank financing on 15, 20 or 30 years)</a:t>
            </a:r>
            <a:br>
              <a:rPr lang="en-US" sz="20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1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</a:t>
            </a:r>
          </a:p>
          <a:p>
            <a:pPr lvl="1">
              <a:lnSpc>
                <a:spcPct val="100000"/>
              </a:lnSpc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Yearly </a:t>
            </a:r>
            <a:r>
              <a:rPr lang="en-US" sz="2000" dirty="0" err="1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gains</a:t>
            </a:r>
            <a:r>
              <a:rPr lang="en-US" sz="10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</a:t>
            </a:r>
            <a:br>
              <a:rPr lang="en-US" sz="1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3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Comparison between costs and gains</a:t>
            </a:r>
            <a:br>
              <a:rPr lang="en-US" sz="20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</a:t>
            </a:r>
          </a:p>
          <a:p>
            <a:pPr lvl="1">
              <a:lnSpc>
                <a:spcPct val="100000"/>
              </a:lnSpc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Incorporating the yearly evolution cost in cash-flows </a:t>
            </a:r>
            <a:br>
              <a:rPr lang="en-US" sz="20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20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(inflation and macro-cost evolution on electricity and combustibles)</a:t>
            </a:r>
            <a:br>
              <a:rPr lang="en-US" sz="20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</a:t>
            </a:r>
            <a:endParaRPr lang="en-US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Cumulative cash-flows (= NAV) to identify the profitability of projects</a:t>
            </a:r>
            <a:br>
              <a:rPr lang="en-US" sz="20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</a:t>
            </a:r>
          </a:p>
          <a:p>
            <a:pPr lvl="1">
              <a:lnSpc>
                <a:spcPct val="100000"/>
              </a:lnSpc>
              <a:buFont typeface="Wingdings" panose="05000000000000000000" pitchFamily="2" charset="2"/>
              <a:buChar char="v"/>
            </a:pPr>
            <a:r>
              <a:rPr lang="en-US" sz="20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Assessment of the investments’ coverage by the expected gains on 20 – 30 years </a:t>
            </a:r>
            <a:br>
              <a:rPr lang="en-US" sz="20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20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(can be between 40 and 300%)</a:t>
            </a:r>
          </a:p>
        </p:txBody>
      </p:sp>
    </p:spTree>
    <p:extLst>
      <p:ext uri="{BB962C8B-B14F-4D97-AF65-F5344CB8AC3E}">
        <p14:creationId xmlns:p14="http://schemas.microsoft.com/office/powerpoint/2010/main" val="70972882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DFC36386-C89D-457F-BA1A-34B052F3F55D}"/>
              </a:ext>
            </a:extLst>
          </p:cNvPr>
          <p:cNvSpPr txBox="1">
            <a:spLocks/>
          </p:cNvSpPr>
          <p:nvPr/>
        </p:nvSpPr>
        <p:spPr>
          <a:xfrm>
            <a:off x="1268159" y="402861"/>
            <a:ext cx="9966643" cy="89880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spc="-6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3600" b="0" i="0" u="none" strike="noStrike" kern="1200" cap="none" spc="-60" normalizeH="0" baseline="0" noProof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Corbel" panose="020B0503020204020204"/>
              <a:ea typeface="+mj-ea"/>
              <a:cs typeface="+mj-cs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8EC9F62-09EB-4BD4-A706-509F1A744A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0509" y="1739048"/>
            <a:ext cx="5950085" cy="4977845"/>
          </a:xfrm>
          <a:solidFill>
            <a:srgbClr val="003E74"/>
          </a:solidFill>
        </p:spPr>
        <p:txBody>
          <a:bodyPr>
            <a:normAutofit fontScale="62500" lnSpcReduction="20000"/>
          </a:bodyPr>
          <a:lstStyle/>
          <a:p>
            <a:pPr lvl="3"/>
            <a:endParaRPr lang="en-US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en-US" sz="25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ublic authorities’ low budget</a:t>
            </a:r>
          </a:p>
          <a:p>
            <a:pPr marL="457200" lvl="1" indent="0">
              <a:buNone/>
            </a:pPr>
            <a:r>
              <a:rPr lang="en-US" sz="23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sym typeface="Wingdings" panose="05000000000000000000" pitchFamily="2" charset="2"/>
              </a:rPr>
              <a:t></a:t>
            </a:r>
            <a:r>
              <a:rPr lang="en-US" sz="23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Self-financing is impossible</a:t>
            </a:r>
          </a:p>
          <a:p>
            <a:pPr lvl="1">
              <a:buFont typeface="Wingdings" panose="05000000000000000000" pitchFamily="2" charset="2"/>
              <a:buChar char="à"/>
            </a:pPr>
            <a:r>
              <a:rPr lang="en-US" sz="23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trong dependance on public subsidies</a:t>
            </a:r>
          </a:p>
          <a:p>
            <a:pPr marL="457200" lvl="1" indent="0">
              <a:buNone/>
            </a:pPr>
            <a:endParaRPr lang="en-US" sz="23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en-US" sz="25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dditional costs involved in the EPCs</a:t>
            </a:r>
          </a:p>
          <a:p>
            <a:pPr>
              <a:lnSpc>
                <a:spcPct val="120000"/>
              </a:lnSpc>
            </a:pPr>
            <a:r>
              <a:rPr lang="en-US" sz="25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ifficulty to compare historical and EPC maintenance cost due to the lack of information on actual </a:t>
            </a:r>
            <a:br>
              <a:rPr lang="en-US" sz="25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25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historical cost</a:t>
            </a:r>
          </a:p>
          <a:p>
            <a:pPr>
              <a:lnSpc>
                <a:spcPct val="120000"/>
              </a:lnSpc>
            </a:pPr>
            <a:r>
              <a:rPr lang="en-US" sz="25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novation on buildings’ envelope is not profitable at short or medium term, but rather on the long term (more than 20 years)</a:t>
            </a:r>
          </a:p>
          <a:p>
            <a:pPr>
              <a:lnSpc>
                <a:spcPct val="120000"/>
              </a:lnSpc>
            </a:pPr>
            <a:r>
              <a:rPr lang="en-US" sz="25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dapting bank financing duration to conventional Lifecyle of technical equipment</a:t>
            </a:r>
          </a:p>
          <a:p>
            <a:pPr>
              <a:lnSpc>
                <a:spcPct val="120000"/>
              </a:lnSpc>
            </a:pPr>
            <a:r>
              <a:rPr lang="en-US" sz="25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ank financing remains the most convenient financing solution in terms of cost and practicability, compared to third-party investors (lower cost, public authority remains the owner of the equipment) </a:t>
            </a:r>
          </a:p>
          <a:p>
            <a:pPr lvl="1"/>
            <a:endParaRPr lang="en-US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1"/>
            <a:endParaRPr lang="en-US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" name="Espace réservé du numéro de diapositive 1">
            <a:extLst>
              <a:ext uri="{FF2B5EF4-FFF2-40B4-BE49-F238E27FC236}">
                <a16:creationId xmlns:a16="http://schemas.microsoft.com/office/drawing/2014/main" id="{6472D98B-CD5F-464C-8F66-41D4B16210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5829" y="6492875"/>
            <a:ext cx="2743200" cy="365125"/>
          </a:xfrm>
        </p:spPr>
        <p:txBody>
          <a:bodyPr/>
          <a:lstStyle/>
          <a:p>
            <a:fld id="{0A782538-02AD-4D54-ABDF-1108B5987306}" type="slidenum">
              <a:rPr lang="fr-BE" smtClean="0"/>
              <a:t>24</a:t>
            </a:fld>
            <a:endParaRPr lang="fr-B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1645841-03C1-42C5-BC83-4EE7309AB54D}"/>
              </a:ext>
            </a:extLst>
          </p:cNvPr>
          <p:cNvSpPr/>
          <p:nvPr/>
        </p:nvSpPr>
        <p:spPr>
          <a:xfrm>
            <a:off x="12971" y="70539"/>
            <a:ext cx="6245157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8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straints </a:t>
            </a:r>
            <a:r>
              <a:rPr lang="fr-FR" sz="4800" dirty="0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&amp;</a:t>
            </a:r>
            <a:r>
              <a:rPr lang="fr-FR" sz="48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Difficulties</a:t>
            </a:r>
            <a:r>
              <a:rPr lang="fr-FR" sz="4800" dirty="0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endParaRPr lang="fr-BE" sz="4800" dirty="0">
              <a:solidFill>
                <a:srgbClr val="A0205D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9D9DF0B-C956-407B-8141-849F10FEF06A}"/>
              </a:ext>
            </a:extLst>
          </p:cNvPr>
          <p:cNvSpPr/>
          <p:nvPr/>
        </p:nvSpPr>
        <p:spPr>
          <a:xfrm>
            <a:off x="5933872" y="70539"/>
            <a:ext cx="6245157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800" dirty="0" err="1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dvantages</a:t>
            </a:r>
            <a:r>
              <a:rPr lang="fr-FR" sz="4800" dirty="0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fr-FR" sz="48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&amp;</a:t>
            </a:r>
            <a:r>
              <a:rPr lang="fr-FR" sz="4800" dirty="0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fr-FR" sz="4800" dirty="0" err="1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pportunities</a:t>
            </a:r>
            <a:r>
              <a:rPr lang="fr-FR" sz="4800" dirty="0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endParaRPr lang="fr-BE" sz="4800" dirty="0">
              <a:solidFill>
                <a:srgbClr val="9D1E5C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Espace réservé du contenu 2">
            <a:extLst>
              <a:ext uri="{FF2B5EF4-FFF2-40B4-BE49-F238E27FC236}">
                <a16:creationId xmlns:a16="http://schemas.microsoft.com/office/drawing/2014/main" id="{F32A7D6C-0E19-4CF1-9E60-44BC93F47F48}"/>
              </a:ext>
            </a:extLst>
          </p:cNvPr>
          <p:cNvSpPr txBox="1">
            <a:spLocks/>
          </p:cNvSpPr>
          <p:nvPr/>
        </p:nvSpPr>
        <p:spPr>
          <a:xfrm>
            <a:off x="6258129" y="1739048"/>
            <a:ext cx="5773365" cy="4977845"/>
          </a:xfrm>
          <a:prstGeom prst="rect">
            <a:avLst/>
          </a:prstGeom>
          <a:solidFill>
            <a:srgbClr val="9D1E5C"/>
          </a:solidFill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3"/>
            <a:endParaRPr lang="en-US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Free energy studies by </a:t>
            </a:r>
            <a:r>
              <a:rPr lang="en-US" sz="20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noWatt</a:t>
            </a:r>
            <a:endParaRPr lang="en-US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457200" lvl="1" indent="0">
              <a:buNone/>
            </a:pPr>
            <a:endParaRPr lang="en-US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Reduce energetical costs</a:t>
            </a:r>
          </a:p>
          <a:p>
            <a:pPr lvl="1">
              <a:buFont typeface="Courier New" panose="02070309020205020404" pitchFamily="49" charset="0"/>
              <a:buChar char="o"/>
            </a:pPr>
            <a:endParaRPr lang="en-US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Conform to local, national and   </a:t>
            </a:r>
            <a:b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European regulations</a:t>
            </a:r>
          </a:p>
          <a:p>
            <a:pPr marL="457200" lvl="1" indent="0">
              <a:buNone/>
            </a:pPr>
            <a:endParaRPr lang="en-US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Increase building’s indoor comfort</a:t>
            </a:r>
          </a:p>
          <a:p>
            <a:pPr marL="457200" lvl="1" indent="0">
              <a:buNone/>
            </a:pPr>
            <a:endParaRPr lang="en-US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Revive the architectural quality </a:t>
            </a:r>
            <a:b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of buildings </a:t>
            </a:r>
          </a:p>
          <a:p>
            <a:pPr lvl="1">
              <a:buFont typeface="Courier New" panose="02070309020205020404" pitchFamily="49" charset="0"/>
              <a:buChar char="o"/>
            </a:pPr>
            <a:endParaRPr lang="en-US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Lead by example</a:t>
            </a:r>
          </a:p>
          <a:p>
            <a:pPr marL="457200" lvl="1" indent="0">
              <a:buFont typeface="Arial" panose="020B0604020202020204" pitchFamily="34" charset="0"/>
              <a:buNone/>
            </a:pPr>
            <a:endParaRPr lang="en-US" sz="16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1"/>
            <a:endParaRPr lang="en-US" sz="16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619438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ADB2A0B-DAFF-4F1E-ABBE-FB82D1ADBDC2}"/>
              </a:ext>
            </a:extLst>
          </p:cNvPr>
          <p:cNvSpPr/>
          <p:nvPr/>
        </p:nvSpPr>
        <p:spPr>
          <a:xfrm>
            <a:off x="-179109" y="-75414"/>
            <a:ext cx="12594210" cy="7343480"/>
          </a:xfrm>
          <a:prstGeom prst="rect">
            <a:avLst/>
          </a:prstGeom>
          <a:solidFill>
            <a:srgbClr val="01407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id="{0EC52AFC-7CBA-46F3-B8BB-A3D2BE2F9F16}"/>
              </a:ext>
            </a:extLst>
          </p:cNvPr>
          <p:cNvSpPr/>
          <p:nvPr/>
        </p:nvSpPr>
        <p:spPr>
          <a:xfrm>
            <a:off x="3396000" y="729000"/>
            <a:ext cx="5400000" cy="5400000"/>
          </a:xfrm>
          <a:prstGeom prst="ellipse">
            <a:avLst/>
          </a:prstGeom>
          <a:solidFill>
            <a:srgbClr val="A0205D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id="{DD62BE35-B6F2-471E-ADDB-A6311FE49478}"/>
              </a:ext>
            </a:extLst>
          </p:cNvPr>
          <p:cNvSpPr/>
          <p:nvPr/>
        </p:nvSpPr>
        <p:spPr>
          <a:xfrm>
            <a:off x="5237770" y="729000"/>
            <a:ext cx="5400000" cy="5400000"/>
          </a:xfrm>
          <a:prstGeom prst="ellipse">
            <a:avLst/>
          </a:prstGeom>
          <a:solidFill>
            <a:srgbClr val="A0205D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B297F5A3-163D-43EF-B0C8-05A3D440C2BD}"/>
              </a:ext>
            </a:extLst>
          </p:cNvPr>
          <p:cNvSpPr/>
          <p:nvPr/>
        </p:nvSpPr>
        <p:spPr>
          <a:xfrm>
            <a:off x="1554230" y="729000"/>
            <a:ext cx="5400000" cy="5400000"/>
          </a:xfrm>
          <a:prstGeom prst="ellipse">
            <a:avLst/>
          </a:prstGeom>
          <a:solidFill>
            <a:srgbClr val="A0205D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04CB144-5DD3-43CE-B8A0-9676BBED4B39}"/>
              </a:ext>
            </a:extLst>
          </p:cNvPr>
          <p:cNvSpPr/>
          <p:nvPr/>
        </p:nvSpPr>
        <p:spPr>
          <a:xfrm>
            <a:off x="-179109" y="1740722"/>
            <a:ext cx="12594210" cy="26118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250000"/>
              </a:lnSpc>
            </a:pPr>
            <a:r>
              <a:rPr lang="en-US" sz="3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TEP 5 </a:t>
            </a:r>
          </a:p>
          <a:p>
            <a:pPr algn="ctr">
              <a:lnSpc>
                <a:spcPct val="250000"/>
              </a:lnSpc>
            </a:pPr>
            <a:r>
              <a:rPr lang="en-US" sz="3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ustomized solution for each building</a:t>
            </a:r>
          </a:p>
        </p:txBody>
      </p:sp>
    </p:spTree>
    <p:extLst>
      <p:ext uri="{BB962C8B-B14F-4D97-AF65-F5344CB8AC3E}">
        <p14:creationId xmlns:p14="http://schemas.microsoft.com/office/powerpoint/2010/main" val="279027715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854B1FA0-B7D9-45CB-82DE-08FEC75D8DFE}"/>
              </a:ext>
            </a:extLst>
          </p:cNvPr>
          <p:cNvSpPr/>
          <p:nvPr/>
        </p:nvSpPr>
        <p:spPr>
          <a:xfrm>
            <a:off x="5957739" y="244885"/>
            <a:ext cx="6112963" cy="830997"/>
          </a:xfrm>
          <a:prstGeom prst="rect">
            <a:avLst/>
          </a:prstGeom>
          <a:ln>
            <a:solidFill>
              <a:srgbClr val="A0205D"/>
            </a:solidFill>
          </a:ln>
        </p:spPr>
        <p:txBody>
          <a:bodyPr wrap="square">
            <a:spAutoFit/>
          </a:bodyPr>
          <a:lstStyle/>
          <a:p>
            <a:pPr lvl="1" algn="ctr"/>
            <a:r>
              <a:rPr lang="en-US" sz="2400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Holistic approach</a:t>
            </a:r>
          </a:p>
          <a:p>
            <a:pPr lvl="1" algn="ctr"/>
            <a:r>
              <a:rPr lang="en-US" sz="240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ep renovation strategy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CEDFAB5-F7E4-4C34-9400-930AC1AC1EC5}"/>
              </a:ext>
            </a:extLst>
          </p:cNvPr>
          <p:cNvSpPr/>
          <p:nvPr/>
        </p:nvSpPr>
        <p:spPr>
          <a:xfrm>
            <a:off x="-337795" y="244885"/>
            <a:ext cx="6112963" cy="830997"/>
          </a:xfrm>
          <a:prstGeom prst="rect">
            <a:avLst/>
          </a:prstGeom>
          <a:ln>
            <a:solidFill>
              <a:srgbClr val="014076"/>
            </a:solidFill>
          </a:ln>
        </p:spPr>
        <p:txBody>
          <a:bodyPr wrap="square">
            <a:spAutoFit/>
          </a:bodyPr>
          <a:lstStyle/>
          <a:p>
            <a:pPr lvl="1" algn="ctr"/>
            <a:r>
              <a:rPr lang="en-US" sz="240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rtial approach</a:t>
            </a:r>
          </a:p>
          <a:p>
            <a:pPr lvl="1" algn="ctr"/>
            <a:r>
              <a:rPr lang="en-US" sz="2400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inor renovation strategy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DAC3A887-FC55-4FC3-B7BF-6EAE215EDFA0}"/>
              </a:ext>
            </a:extLst>
          </p:cNvPr>
          <p:cNvSpPr txBox="1"/>
          <p:nvPr/>
        </p:nvSpPr>
        <p:spPr>
          <a:xfrm>
            <a:off x="8901099" y="1461333"/>
            <a:ext cx="3835782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↑↑ Air quality</a:t>
            </a:r>
          </a:p>
          <a:p>
            <a:endParaRPr lang="en-US" sz="2000">
              <a:solidFill>
                <a:srgbClr val="A0205D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en-US" sz="2000">
              <a:solidFill>
                <a:srgbClr val="A0205D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en-US" sz="2000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↑↑ thermal comfort</a:t>
            </a:r>
          </a:p>
          <a:p>
            <a:endParaRPr lang="en-US" sz="2000">
              <a:solidFill>
                <a:srgbClr val="A0205D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en-US" sz="2000">
              <a:solidFill>
                <a:srgbClr val="A0205D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en-US" sz="2000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↓↓ thermal bridges</a:t>
            </a:r>
          </a:p>
          <a:p>
            <a:endParaRPr lang="en-US" sz="2000">
              <a:solidFill>
                <a:srgbClr val="A0205D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en-US" sz="2000">
              <a:solidFill>
                <a:srgbClr val="A0205D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en-US" sz="2000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↓↓ heating demand</a:t>
            </a:r>
          </a:p>
        </p:txBody>
      </p:sp>
      <p:sp>
        <p:nvSpPr>
          <p:cNvPr id="44" name="ZoneTexte 43">
            <a:extLst>
              <a:ext uri="{FF2B5EF4-FFF2-40B4-BE49-F238E27FC236}">
                <a16:creationId xmlns:a16="http://schemas.microsoft.com/office/drawing/2014/main" id="{890B2D35-D67E-44FA-8901-926301B46DDA}"/>
              </a:ext>
            </a:extLst>
          </p:cNvPr>
          <p:cNvSpPr txBox="1"/>
          <p:nvPr/>
        </p:nvSpPr>
        <p:spPr>
          <a:xfrm>
            <a:off x="7903426" y="5123304"/>
            <a:ext cx="4034672" cy="1631216"/>
          </a:xfrm>
          <a:prstGeom prst="rect">
            <a:avLst/>
          </a:prstGeom>
          <a:solidFill>
            <a:srgbClr val="A0205D"/>
          </a:solidFill>
        </p:spPr>
        <p:txBody>
          <a:bodyPr wrap="square" rtlCol="0">
            <a:spAutoFit/>
          </a:bodyPr>
          <a:lstStyle/>
          <a:p>
            <a:r>
              <a:rPr lang="en-US" sz="20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etter coordination</a:t>
            </a:r>
          </a:p>
          <a:p>
            <a:r>
              <a:rPr lang="en-US" sz="20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dequate systems sizing </a:t>
            </a:r>
          </a:p>
          <a:p>
            <a:r>
              <a:rPr lang="en-US" sz="20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dapted cost</a:t>
            </a:r>
          </a:p>
          <a:p>
            <a:r>
              <a:rPr lang="en-US" sz="20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nergy monitoring</a:t>
            </a:r>
          </a:p>
          <a:p>
            <a:r>
              <a:rPr lang="en-US" sz="20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ptimal solution</a:t>
            </a:r>
          </a:p>
        </p:txBody>
      </p:sp>
      <p:pic>
        <p:nvPicPr>
          <p:cNvPr id="35" name="Image 34" descr="Une image contenant jouet, circuit&#10;&#10;Description générée automatiquement">
            <a:extLst>
              <a:ext uri="{FF2B5EF4-FFF2-40B4-BE49-F238E27FC236}">
                <a16:creationId xmlns:a16="http://schemas.microsoft.com/office/drawing/2014/main" id="{65E728F0-EAA1-4D22-9821-4705F3F560A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44" r="8453"/>
          <a:stretch/>
        </p:blipFill>
        <p:spPr>
          <a:xfrm>
            <a:off x="3486454" y="1277705"/>
            <a:ext cx="5219092" cy="4726052"/>
          </a:xfrm>
          <a:prstGeom prst="rect">
            <a:avLst/>
          </a:prstGeom>
        </p:spPr>
      </p:pic>
      <p:sp>
        <p:nvSpPr>
          <p:cNvPr id="45" name="ZoneTexte 44">
            <a:extLst>
              <a:ext uri="{FF2B5EF4-FFF2-40B4-BE49-F238E27FC236}">
                <a16:creationId xmlns:a16="http://schemas.microsoft.com/office/drawing/2014/main" id="{0AFD73F3-67E0-4153-A876-16E870E0D260}"/>
              </a:ext>
            </a:extLst>
          </p:cNvPr>
          <p:cNvSpPr txBox="1"/>
          <p:nvPr/>
        </p:nvSpPr>
        <p:spPr>
          <a:xfrm>
            <a:off x="63871" y="3985177"/>
            <a:ext cx="355176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>
                <a:solidFill>
                  <a:srgbClr val="02427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↑↑ thermal bridges</a:t>
            </a:r>
          </a:p>
        </p:txBody>
      </p:sp>
      <p:sp>
        <p:nvSpPr>
          <p:cNvPr id="46" name="ZoneTexte 45">
            <a:extLst>
              <a:ext uri="{FF2B5EF4-FFF2-40B4-BE49-F238E27FC236}">
                <a16:creationId xmlns:a16="http://schemas.microsoft.com/office/drawing/2014/main" id="{E5C4491F-83F4-4669-A9AD-312E98A1E2F8}"/>
              </a:ext>
            </a:extLst>
          </p:cNvPr>
          <p:cNvSpPr txBox="1"/>
          <p:nvPr/>
        </p:nvSpPr>
        <p:spPr>
          <a:xfrm>
            <a:off x="63871" y="2968277"/>
            <a:ext cx="33608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>
                <a:solidFill>
                  <a:srgbClr val="02427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↑↑ heading demand</a:t>
            </a:r>
          </a:p>
        </p:txBody>
      </p:sp>
      <p:sp>
        <p:nvSpPr>
          <p:cNvPr id="47" name="ZoneTexte 46">
            <a:extLst>
              <a:ext uri="{FF2B5EF4-FFF2-40B4-BE49-F238E27FC236}">
                <a16:creationId xmlns:a16="http://schemas.microsoft.com/office/drawing/2014/main" id="{D5816190-9EFE-4AF6-BE99-6129DB10D80E}"/>
              </a:ext>
            </a:extLst>
          </p:cNvPr>
          <p:cNvSpPr txBox="1"/>
          <p:nvPr/>
        </p:nvSpPr>
        <p:spPr>
          <a:xfrm>
            <a:off x="63871" y="1951377"/>
            <a:ext cx="49207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>
                <a:solidFill>
                  <a:srgbClr val="02427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↑↑ condensation</a:t>
            </a:r>
          </a:p>
        </p:txBody>
      </p:sp>
      <p:sp>
        <p:nvSpPr>
          <p:cNvPr id="48" name="ZoneTexte 47">
            <a:extLst>
              <a:ext uri="{FF2B5EF4-FFF2-40B4-BE49-F238E27FC236}">
                <a16:creationId xmlns:a16="http://schemas.microsoft.com/office/drawing/2014/main" id="{F5D5CF90-E014-4ABC-8B68-474477B93E99}"/>
              </a:ext>
            </a:extLst>
          </p:cNvPr>
          <p:cNvSpPr txBox="1"/>
          <p:nvPr/>
        </p:nvSpPr>
        <p:spPr>
          <a:xfrm>
            <a:off x="253902" y="5559220"/>
            <a:ext cx="3456000" cy="1015663"/>
          </a:xfrm>
          <a:prstGeom prst="rect">
            <a:avLst/>
          </a:prstGeom>
          <a:solidFill>
            <a:srgbClr val="014076"/>
          </a:solidFill>
          <a:ln>
            <a:solidFill>
              <a:srgbClr val="014076"/>
            </a:solidFill>
          </a:ln>
        </p:spPr>
        <p:txBody>
          <a:bodyPr wrap="square" rtlCol="0">
            <a:spAutoFit/>
          </a:bodyPr>
          <a:lstStyle/>
          <a:p>
            <a:r>
              <a:rPr lang="en-US" sz="20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oor coordination</a:t>
            </a:r>
          </a:p>
          <a:p>
            <a:r>
              <a:rPr lang="en-US" sz="20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versized systems </a:t>
            </a:r>
          </a:p>
          <a:p>
            <a:r>
              <a:rPr lang="en-US" sz="20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vervalued works 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18F9A3F-A4C1-4DD6-A639-F0C4CC36BAA6}"/>
              </a:ext>
            </a:extLst>
          </p:cNvPr>
          <p:cNvSpPr/>
          <p:nvPr/>
        </p:nvSpPr>
        <p:spPr>
          <a:xfrm>
            <a:off x="-337795" y="244885"/>
            <a:ext cx="459093" cy="830997"/>
          </a:xfrm>
          <a:prstGeom prst="rect">
            <a:avLst/>
          </a:prstGeom>
          <a:solidFill>
            <a:schemeClr val="bg1"/>
          </a:solidFill>
          <a:ln w="12700">
            <a:solidFill>
              <a:srgbClr val="01407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BAF671BB-7B78-4B37-BD80-2A7C0613BD94}"/>
              </a:ext>
            </a:extLst>
          </p:cNvPr>
          <p:cNvSpPr/>
          <p:nvPr/>
        </p:nvSpPr>
        <p:spPr>
          <a:xfrm>
            <a:off x="-520367" y="141405"/>
            <a:ext cx="630000" cy="10326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BF6A476-2EC8-4B20-AA91-E0AED8799C66}"/>
              </a:ext>
            </a:extLst>
          </p:cNvPr>
          <p:cNvSpPr/>
          <p:nvPr/>
        </p:nvSpPr>
        <p:spPr>
          <a:xfrm>
            <a:off x="5957740" y="244885"/>
            <a:ext cx="459093" cy="830997"/>
          </a:xfrm>
          <a:prstGeom prst="rect">
            <a:avLst/>
          </a:prstGeom>
          <a:solidFill>
            <a:schemeClr val="bg1"/>
          </a:solidFill>
          <a:ln w="12700">
            <a:solidFill>
              <a:srgbClr val="A0205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8C19204E-F477-4499-ADCF-6D9446609531}"/>
              </a:ext>
            </a:extLst>
          </p:cNvPr>
          <p:cNvSpPr/>
          <p:nvPr/>
        </p:nvSpPr>
        <p:spPr>
          <a:xfrm>
            <a:off x="5836899" y="141405"/>
            <a:ext cx="568800" cy="10326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720430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28FDA67-637C-4C9B-84D7-9580AF86D79A}"/>
              </a:ext>
            </a:extLst>
          </p:cNvPr>
          <p:cNvSpPr/>
          <p:nvPr/>
        </p:nvSpPr>
        <p:spPr>
          <a:xfrm>
            <a:off x="0" y="-27919"/>
            <a:ext cx="12192000" cy="9234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5401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Guidelines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A32473D6-8ED1-45B7-B4CF-FCD8269310C1}"/>
              </a:ext>
            </a:extLst>
          </p:cNvPr>
          <p:cNvSpPr txBox="1"/>
          <p:nvPr/>
        </p:nvSpPr>
        <p:spPr>
          <a:xfrm>
            <a:off x="367929" y="1212659"/>
            <a:ext cx="4634144" cy="830997"/>
          </a:xfrm>
          <a:prstGeom prst="rect">
            <a:avLst/>
          </a:prstGeom>
          <a:noFill/>
          <a:ln w="28575">
            <a:solidFill>
              <a:srgbClr val="014076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mproving the thermal performance of building’s envelope (higher requirements than those of the PEB regulations)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BA8DE781-399B-4B3D-B8B6-6A0D24530A97}"/>
              </a:ext>
            </a:extLst>
          </p:cNvPr>
          <p:cNvSpPr txBox="1"/>
          <p:nvPr/>
        </p:nvSpPr>
        <p:spPr>
          <a:xfrm>
            <a:off x="361020" y="2346041"/>
            <a:ext cx="4634144" cy="584775"/>
          </a:xfrm>
          <a:prstGeom prst="rect">
            <a:avLst/>
          </a:prstGeom>
          <a:noFill/>
          <a:ln w="28575">
            <a:solidFill>
              <a:srgbClr val="A0205D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lorizing carbon balance </a:t>
            </a:r>
            <a:br>
              <a:rPr lang="en-US" sz="1600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1600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 the choice of insulation materials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5009F338-071D-4290-8B07-27A4DD36639B}"/>
              </a:ext>
            </a:extLst>
          </p:cNvPr>
          <p:cNvSpPr txBox="1"/>
          <p:nvPr/>
        </p:nvSpPr>
        <p:spPr>
          <a:xfrm>
            <a:off x="367929" y="3845525"/>
            <a:ext cx="4634144" cy="584775"/>
          </a:xfrm>
          <a:prstGeom prst="rect">
            <a:avLst/>
          </a:prstGeom>
          <a:noFill/>
          <a:ln w="28575">
            <a:solidFill>
              <a:srgbClr val="A0205D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mproving the efficiency of </a:t>
            </a:r>
            <a:br>
              <a:rPr lang="en-US" sz="1600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1600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he systems and regulation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F0EC5FE4-56D3-41B5-8045-B1EEC6EEF45C}"/>
              </a:ext>
            </a:extLst>
          </p:cNvPr>
          <p:cNvSpPr txBox="1"/>
          <p:nvPr/>
        </p:nvSpPr>
        <p:spPr>
          <a:xfrm>
            <a:off x="361020" y="3095783"/>
            <a:ext cx="4634144" cy="584775"/>
          </a:xfrm>
          <a:prstGeom prst="rect">
            <a:avLst/>
          </a:prstGeom>
          <a:noFill/>
          <a:ln w="28575">
            <a:solidFill>
              <a:srgbClr val="014076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novating HVAC systems while </a:t>
            </a:r>
            <a:br>
              <a:rPr lang="en-US" sz="160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160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moting for renewable resources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28FA420A-80CE-4E87-91E4-03DC48CA1B28}"/>
              </a:ext>
            </a:extLst>
          </p:cNvPr>
          <p:cNvSpPr txBox="1"/>
          <p:nvPr/>
        </p:nvSpPr>
        <p:spPr>
          <a:xfrm>
            <a:off x="367929" y="5597378"/>
            <a:ext cx="4634144" cy="584775"/>
          </a:xfrm>
          <a:prstGeom prst="rect">
            <a:avLst/>
          </a:prstGeom>
          <a:noFill/>
          <a:ln w="28575">
            <a:solidFill>
              <a:srgbClr val="A0205D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mproving thermal comfort </a:t>
            </a:r>
            <a:br>
              <a:rPr lang="en-US" sz="1600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1600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nd reducing overheating risk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066A49EC-0D7B-42FA-9636-FA25590D770C}"/>
              </a:ext>
            </a:extLst>
          </p:cNvPr>
          <p:cNvSpPr txBox="1"/>
          <p:nvPr/>
        </p:nvSpPr>
        <p:spPr>
          <a:xfrm>
            <a:off x="7029147" y="4629155"/>
            <a:ext cx="4801833" cy="831600"/>
          </a:xfrm>
          <a:prstGeom prst="rect">
            <a:avLst/>
          </a:prstGeom>
          <a:noFill/>
          <a:ln w="28575">
            <a:solidFill>
              <a:srgbClr val="014076"/>
            </a:solidFill>
          </a:ln>
        </p:spPr>
        <p:txBody>
          <a:bodyPr wrap="square" rtlCol="0">
            <a:spAutoFit/>
          </a:bodyPr>
          <a:lstStyle/>
          <a:p>
            <a:pPr algn="ctr"/>
            <a:br>
              <a:rPr lang="en-US" sz="160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160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hotovoltaic panel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0E03BB70-66E6-4F80-B1FD-AD33DF68C39C}"/>
              </a:ext>
            </a:extLst>
          </p:cNvPr>
          <p:cNvSpPr txBox="1"/>
          <p:nvPr/>
        </p:nvSpPr>
        <p:spPr>
          <a:xfrm>
            <a:off x="7029147" y="3095784"/>
            <a:ext cx="4801833" cy="584775"/>
          </a:xfrm>
          <a:prstGeom prst="rect">
            <a:avLst/>
          </a:prstGeom>
          <a:noFill/>
          <a:ln w="28575">
            <a:solidFill>
              <a:srgbClr val="014076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Heat pumps, centralized heating </a:t>
            </a:r>
            <a:br>
              <a:rPr lang="en-US" sz="160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160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biomass boilers, CHP)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D9ED6D40-C318-40A8-BF53-6B5E34ED9C8B}"/>
              </a:ext>
            </a:extLst>
          </p:cNvPr>
          <p:cNvSpPr txBox="1"/>
          <p:nvPr/>
        </p:nvSpPr>
        <p:spPr>
          <a:xfrm>
            <a:off x="7029147" y="3846912"/>
            <a:ext cx="4801833" cy="584775"/>
          </a:xfrm>
          <a:prstGeom prst="rect">
            <a:avLst/>
          </a:prstGeom>
          <a:noFill/>
          <a:ln w="28575">
            <a:solidFill>
              <a:srgbClr val="A0205D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Heat recovery, regulation optimization, installing smart valves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1426E219-943A-4CC2-A21E-B88C4C91A41A}"/>
              </a:ext>
            </a:extLst>
          </p:cNvPr>
          <p:cNvSpPr txBox="1"/>
          <p:nvPr/>
        </p:nvSpPr>
        <p:spPr>
          <a:xfrm>
            <a:off x="7029147" y="2347883"/>
            <a:ext cx="4801833" cy="583200"/>
          </a:xfrm>
          <a:prstGeom prst="rect">
            <a:avLst/>
          </a:prstGeom>
          <a:noFill/>
          <a:ln w="28575">
            <a:solidFill>
              <a:srgbClr val="A0205D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ineral and bio-based sustainable materials </a:t>
            </a:r>
            <a:r>
              <a:rPr lang="en-US" sz="1400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wood wool, wood cladding with natural patina)</a:t>
            </a:r>
            <a:endParaRPr lang="en-US" sz="1300">
              <a:solidFill>
                <a:srgbClr val="A0205D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21" name="Tableau 21">
            <a:extLst>
              <a:ext uri="{FF2B5EF4-FFF2-40B4-BE49-F238E27FC236}">
                <a16:creationId xmlns:a16="http://schemas.microsoft.com/office/drawing/2014/main" id="{C7CAF017-C0D1-4F11-9EE1-331CFD5AEA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7033018"/>
              </p:ext>
            </p:extLst>
          </p:nvPr>
        </p:nvGraphicFramePr>
        <p:xfrm>
          <a:off x="7029149" y="1013496"/>
          <a:ext cx="4801836" cy="11938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99252">
                  <a:extLst>
                    <a:ext uri="{9D8B030D-6E8A-4147-A177-3AD203B41FA5}">
                      <a16:colId xmlns:a16="http://schemas.microsoft.com/office/drawing/2014/main" val="2035772981"/>
                    </a:ext>
                  </a:extLst>
                </a:gridCol>
                <a:gridCol w="1497874">
                  <a:extLst>
                    <a:ext uri="{9D8B030D-6E8A-4147-A177-3AD203B41FA5}">
                      <a16:colId xmlns:a16="http://schemas.microsoft.com/office/drawing/2014/main" val="3541271341"/>
                    </a:ext>
                  </a:extLst>
                </a:gridCol>
                <a:gridCol w="1704710">
                  <a:extLst>
                    <a:ext uri="{9D8B030D-6E8A-4147-A177-3AD203B41FA5}">
                      <a16:colId xmlns:a16="http://schemas.microsoft.com/office/drawing/2014/main" val="2085388415"/>
                    </a:ext>
                  </a:extLst>
                </a:gridCol>
              </a:tblGrid>
              <a:tr h="416562">
                <a:tc>
                  <a:txBody>
                    <a:bodyPr/>
                    <a:lstStyle/>
                    <a:p>
                      <a:pPr algn="ctr"/>
                      <a:r>
                        <a:rPr lang="en-US" sz="1050" noProof="0">
                          <a:solidFill>
                            <a:srgbClr val="01407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Building’s envelope element</a:t>
                      </a:r>
                    </a:p>
                  </a:txBody>
                  <a:tcPr marT="45721" marB="45721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noProof="0">
                          <a:solidFill>
                            <a:srgbClr val="01407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PEB requirement (W/m².K)</a:t>
                      </a:r>
                    </a:p>
                  </a:txBody>
                  <a:tcPr marT="45721" marB="45721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noProof="0">
                          <a:solidFill>
                            <a:srgbClr val="01407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ZEN requirement (W/m².K)</a:t>
                      </a:r>
                    </a:p>
                  </a:txBody>
                  <a:tcPr marT="45721" marB="45721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987025"/>
                  </a:ext>
                </a:extLst>
              </a:tr>
              <a:tr h="254002"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>
                          <a:solidFill>
                            <a:srgbClr val="01407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Wall</a:t>
                      </a:r>
                    </a:p>
                  </a:txBody>
                  <a:tcPr marT="45721" marB="45721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>
                          <a:solidFill>
                            <a:srgbClr val="01407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.24</a:t>
                      </a:r>
                    </a:p>
                  </a:txBody>
                  <a:tcPr marT="45721" marB="45721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>
                          <a:solidFill>
                            <a:srgbClr val="01407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.20</a:t>
                      </a:r>
                    </a:p>
                  </a:txBody>
                  <a:tcPr marT="45721" marB="45721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3112021"/>
                  </a:ext>
                </a:extLst>
              </a:tr>
              <a:tr h="254002"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>
                          <a:solidFill>
                            <a:srgbClr val="01407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Roof</a:t>
                      </a:r>
                    </a:p>
                  </a:txBody>
                  <a:tcPr marT="45721" marB="45721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>
                          <a:solidFill>
                            <a:srgbClr val="01407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.24</a:t>
                      </a:r>
                    </a:p>
                  </a:txBody>
                  <a:tcPr marT="45721" marB="45721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>
                          <a:solidFill>
                            <a:srgbClr val="01407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.15</a:t>
                      </a:r>
                    </a:p>
                  </a:txBody>
                  <a:tcPr marT="45721" marB="45721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11245763"/>
                  </a:ext>
                </a:extLst>
              </a:tr>
              <a:tr h="254002"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>
                          <a:solidFill>
                            <a:srgbClr val="01407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Window</a:t>
                      </a:r>
                    </a:p>
                  </a:txBody>
                  <a:tcPr marT="45721" marB="45721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>
                          <a:solidFill>
                            <a:srgbClr val="01407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.5</a:t>
                      </a:r>
                    </a:p>
                  </a:txBody>
                  <a:tcPr marT="45721" marB="45721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>
                          <a:solidFill>
                            <a:srgbClr val="01407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.5</a:t>
                      </a:r>
                    </a:p>
                  </a:txBody>
                  <a:tcPr marT="45721" marB="45721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7814496"/>
                  </a:ext>
                </a:extLst>
              </a:tr>
            </a:tbl>
          </a:graphicData>
        </a:graphic>
      </p:graphicFrame>
      <p:sp>
        <p:nvSpPr>
          <p:cNvPr id="29" name="ZoneTexte 28">
            <a:extLst>
              <a:ext uri="{FF2B5EF4-FFF2-40B4-BE49-F238E27FC236}">
                <a16:creationId xmlns:a16="http://schemas.microsoft.com/office/drawing/2014/main" id="{A293336A-CA59-4D6D-ABC6-F8D1F9C06110}"/>
              </a:ext>
            </a:extLst>
          </p:cNvPr>
          <p:cNvSpPr txBox="1"/>
          <p:nvPr/>
        </p:nvSpPr>
        <p:spPr>
          <a:xfrm>
            <a:off x="367929" y="4595267"/>
            <a:ext cx="4634144" cy="830997"/>
          </a:xfrm>
          <a:prstGeom prst="rect">
            <a:avLst/>
          </a:prstGeom>
          <a:noFill/>
          <a:ln w="28575">
            <a:solidFill>
              <a:srgbClr val="014076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ducing the environmental impact </a:t>
            </a:r>
            <a:br>
              <a:rPr lang="en-US" sz="160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160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f electricity consumption by promoting </a:t>
            </a:r>
            <a:br>
              <a:rPr lang="en-US" sz="160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160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or renewable energies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537B63A1-639E-4881-8ADC-B36C32985A49}"/>
              </a:ext>
            </a:extLst>
          </p:cNvPr>
          <p:cNvSpPr txBox="1"/>
          <p:nvPr/>
        </p:nvSpPr>
        <p:spPr>
          <a:xfrm>
            <a:off x="7022232" y="5597378"/>
            <a:ext cx="4801833" cy="584775"/>
          </a:xfrm>
          <a:prstGeom prst="rect">
            <a:avLst/>
          </a:prstGeom>
          <a:noFill/>
          <a:ln w="28575">
            <a:solidFill>
              <a:srgbClr val="A0205D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ouble-flow controlled mechanical ventilation with heat recovery</a:t>
            </a: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26EA6613-59B0-4EE3-8C0D-944B55EF1B0E}"/>
              </a:ext>
            </a:extLst>
          </p:cNvPr>
          <p:cNvSpPr txBox="1"/>
          <p:nvPr/>
        </p:nvSpPr>
        <p:spPr>
          <a:xfrm>
            <a:off x="361020" y="6353267"/>
            <a:ext cx="4634144" cy="338554"/>
          </a:xfrm>
          <a:prstGeom prst="rect">
            <a:avLst/>
          </a:prstGeom>
          <a:noFill/>
          <a:ln w="28575">
            <a:solidFill>
              <a:srgbClr val="014076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alorizing building stock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D7FD580C-25AD-4E60-9DEE-506399962D4E}"/>
              </a:ext>
            </a:extLst>
          </p:cNvPr>
          <p:cNvSpPr txBox="1"/>
          <p:nvPr/>
        </p:nvSpPr>
        <p:spPr>
          <a:xfrm>
            <a:off x="7029147" y="6353267"/>
            <a:ext cx="4801833" cy="338554"/>
          </a:xfrm>
          <a:prstGeom prst="rect">
            <a:avLst/>
          </a:prstGeom>
          <a:noFill/>
          <a:ln w="28575">
            <a:solidFill>
              <a:srgbClr val="014076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tegrated architecture and urbanism</a:t>
            </a:r>
          </a:p>
        </p:txBody>
      </p:sp>
      <p:cxnSp>
        <p:nvCxnSpPr>
          <p:cNvPr id="40" name="Connecteur droit avec flèche 39">
            <a:extLst>
              <a:ext uri="{FF2B5EF4-FFF2-40B4-BE49-F238E27FC236}">
                <a16:creationId xmlns:a16="http://schemas.microsoft.com/office/drawing/2014/main" id="{7B301F6E-2380-4FC4-A32D-6E9FABF6E1DA}"/>
              </a:ext>
            </a:extLst>
          </p:cNvPr>
          <p:cNvCxnSpPr/>
          <p:nvPr/>
        </p:nvCxnSpPr>
        <p:spPr>
          <a:xfrm>
            <a:off x="5335572" y="6549232"/>
            <a:ext cx="1329180" cy="0"/>
          </a:xfrm>
          <a:prstGeom prst="straightConnector1">
            <a:avLst/>
          </a:prstGeom>
          <a:ln w="28575" cap="flat" cmpd="sng" algn="ctr">
            <a:solidFill>
              <a:srgbClr val="01407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1" name="Connecteur droit avec flèche 40">
            <a:extLst>
              <a:ext uri="{FF2B5EF4-FFF2-40B4-BE49-F238E27FC236}">
                <a16:creationId xmlns:a16="http://schemas.microsoft.com/office/drawing/2014/main" id="{6FFF96CA-5FEE-4FDE-BA7E-84BB9F4DC7D2}"/>
              </a:ext>
            </a:extLst>
          </p:cNvPr>
          <p:cNvCxnSpPr/>
          <p:nvPr/>
        </p:nvCxnSpPr>
        <p:spPr>
          <a:xfrm>
            <a:off x="5335572" y="5037399"/>
            <a:ext cx="1329180" cy="0"/>
          </a:xfrm>
          <a:prstGeom prst="straightConnector1">
            <a:avLst/>
          </a:prstGeom>
          <a:ln w="28575" cap="flat" cmpd="sng" algn="ctr">
            <a:solidFill>
              <a:srgbClr val="01407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2" name="Connecteur droit avec flèche 41">
            <a:extLst>
              <a:ext uri="{FF2B5EF4-FFF2-40B4-BE49-F238E27FC236}">
                <a16:creationId xmlns:a16="http://schemas.microsoft.com/office/drawing/2014/main" id="{1F32D61D-75AC-4251-8142-A2A7E855D854}"/>
              </a:ext>
            </a:extLst>
          </p:cNvPr>
          <p:cNvCxnSpPr/>
          <p:nvPr/>
        </p:nvCxnSpPr>
        <p:spPr>
          <a:xfrm>
            <a:off x="5353328" y="3393488"/>
            <a:ext cx="1329180" cy="0"/>
          </a:xfrm>
          <a:prstGeom prst="straightConnector1">
            <a:avLst/>
          </a:prstGeom>
          <a:ln w="28575" cap="flat" cmpd="sng" algn="ctr">
            <a:solidFill>
              <a:srgbClr val="01407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3" name="Connecteur droit avec flèche 42">
            <a:extLst>
              <a:ext uri="{FF2B5EF4-FFF2-40B4-BE49-F238E27FC236}">
                <a16:creationId xmlns:a16="http://schemas.microsoft.com/office/drawing/2014/main" id="{508972B3-E330-4235-8910-CA72C5992FBB}"/>
              </a:ext>
            </a:extLst>
          </p:cNvPr>
          <p:cNvCxnSpPr/>
          <p:nvPr/>
        </p:nvCxnSpPr>
        <p:spPr>
          <a:xfrm>
            <a:off x="5353328" y="1628156"/>
            <a:ext cx="1329180" cy="0"/>
          </a:xfrm>
          <a:prstGeom prst="straightConnector1">
            <a:avLst/>
          </a:prstGeom>
          <a:ln w="28575" cap="flat" cmpd="sng" algn="ctr">
            <a:solidFill>
              <a:srgbClr val="01407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4" name="Connecteur droit avec flèche 43">
            <a:extLst>
              <a:ext uri="{FF2B5EF4-FFF2-40B4-BE49-F238E27FC236}">
                <a16:creationId xmlns:a16="http://schemas.microsoft.com/office/drawing/2014/main" id="{1ECC53B6-C341-4419-9A06-F0B219DEE918}"/>
              </a:ext>
            </a:extLst>
          </p:cNvPr>
          <p:cNvCxnSpPr/>
          <p:nvPr/>
        </p:nvCxnSpPr>
        <p:spPr>
          <a:xfrm>
            <a:off x="5335572" y="5911316"/>
            <a:ext cx="1329180" cy="0"/>
          </a:xfrm>
          <a:prstGeom prst="straightConnector1">
            <a:avLst/>
          </a:prstGeom>
          <a:ln w="28575" cap="flat" cmpd="sng" algn="ctr">
            <a:solidFill>
              <a:srgbClr val="A0205D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6" name="Connecteur droit avec flèche 45">
            <a:extLst>
              <a:ext uri="{FF2B5EF4-FFF2-40B4-BE49-F238E27FC236}">
                <a16:creationId xmlns:a16="http://schemas.microsoft.com/office/drawing/2014/main" id="{A3333417-5E24-4DF0-A5EE-7A7E01DD0ECE}"/>
              </a:ext>
            </a:extLst>
          </p:cNvPr>
          <p:cNvCxnSpPr/>
          <p:nvPr/>
        </p:nvCxnSpPr>
        <p:spPr>
          <a:xfrm>
            <a:off x="5335572" y="4142159"/>
            <a:ext cx="1329180" cy="0"/>
          </a:xfrm>
          <a:prstGeom prst="straightConnector1">
            <a:avLst/>
          </a:prstGeom>
          <a:ln w="28575" cap="flat" cmpd="sng" algn="ctr">
            <a:solidFill>
              <a:srgbClr val="A0205D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7" name="Connecteur droit avec flèche 46">
            <a:extLst>
              <a:ext uri="{FF2B5EF4-FFF2-40B4-BE49-F238E27FC236}">
                <a16:creationId xmlns:a16="http://schemas.microsoft.com/office/drawing/2014/main" id="{18BCEA05-246B-4DAA-84C2-691B204791C7}"/>
              </a:ext>
            </a:extLst>
          </p:cNvPr>
          <p:cNvCxnSpPr/>
          <p:nvPr/>
        </p:nvCxnSpPr>
        <p:spPr>
          <a:xfrm>
            <a:off x="5353328" y="2639247"/>
            <a:ext cx="1329180" cy="0"/>
          </a:xfrm>
          <a:prstGeom prst="straightConnector1">
            <a:avLst/>
          </a:prstGeom>
          <a:ln w="28575" cap="flat" cmpd="sng" algn="ctr">
            <a:solidFill>
              <a:srgbClr val="A0205D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48" name="Rectangle 47">
            <a:extLst>
              <a:ext uri="{FF2B5EF4-FFF2-40B4-BE49-F238E27FC236}">
                <a16:creationId xmlns:a16="http://schemas.microsoft.com/office/drawing/2014/main" id="{D5496640-D9B6-435E-99C3-0E7E869013DF}"/>
              </a:ext>
            </a:extLst>
          </p:cNvPr>
          <p:cNvSpPr/>
          <p:nvPr/>
        </p:nvSpPr>
        <p:spPr>
          <a:xfrm>
            <a:off x="7029147" y="1013497"/>
            <a:ext cx="4801833" cy="1169883"/>
          </a:xfrm>
          <a:prstGeom prst="rect">
            <a:avLst/>
          </a:prstGeom>
          <a:noFill/>
          <a:ln>
            <a:solidFill>
              <a:srgbClr val="01407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6" name="Espace réservé du numéro de diapositive 1">
            <a:extLst>
              <a:ext uri="{FF2B5EF4-FFF2-40B4-BE49-F238E27FC236}">
                <a16:creationId xmlns:a16="http://schemas.microsoft.com/office/drawing/2014/main" id="{1BDA4C5F-5D66-4900-96DC-F49EC019B1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545476"/>
            <a:ext cx="2743200" cy="365125"/>
          </a:xfrm>
        </p:spPr>
        <p:txBody>
          <a:bodyPr/>
          <a:lstStyle/>
          <a:p>
            <a:fld id="{0A782538-02AD-4D54-ABDF-1108B5987306}" type="slidenum">
              <a:rPr lang="fr-BE" smtClean="0"/>
              <a:t>27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52145674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ADB2A0B-DAFF-4F1E-ABBE-FB82D1ADBDC2}"/>
              </a:ext>
            </a:extLst>
          </p:cNvPr>
          <p:cNvSpPr/>
          <p:nvPr/>
        </p:nvSpPr>
        <p:spPr>
          <a:xfrm>
            <a:off x="-179109" y="-75414"/>
            <a:ext cx="12594210" cy="7343480"/>
          </a:xfrm>
          <a:prstGeom prst="rect">
            <a:avLst/>
          </a:prstGeom>
          <a:solidFill>
            <a:srgbClr val="01407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id="{0EC52AFC-7CBA-46F3-B8BB-A3D2BE2F9F16}"/>
              </a:ext>
            </a:extLst>
          </p:cNvPr>
          <p:cNvSpPr/>
          <p:nvPr/>
        </p:nvSpPr>
        <p:spPr>
          <a:xfrm>
            <a:off x="3396000" y="729000"/>
            <a:ext cx="5400000" cy="5400000"/>
          </a:xfrm>
          <a:prstGeom prst="ellipse">
            <a:avLst/>
          </a:prstGeom>
          <a:solidFill>
            <a:srgbClr val="A0205D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id="{DD62BE35-B6F2-471E-ADDB-A6311FE49478}"/>
              </a:ext>
            </a:extLst>
          </p:cNvPr>
          <p:cNvSpPr/>
          <p:nvPr/>
        </p:nvSpPr>
        <p:spPr>
          <a:xfrm>
            <a:off x="5237770" y="729000"/>
            <a:ext cx="5400000" cy="5400000"/>
          </a:xfrm>
          <a:prstGeom prst="ellipse">
            <a:avLst/>
          </a:prstGeom>
          <a:solidFill>
            <a:srgbClr val="A0205D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B297F5A3-163D-43EF-B0C8-05A3D440C2BD}"/>
              </a:ext>
            </a:extLst>
          </p:cNvPr>
          <p:cNvSpPr/>
          <p:nvPr/>
        </p:nvSpPr>
        <p:spPr>
          <a:xfrm>
            <a:off x="1554230" y="729000"/>
            <a:ext cx="5400000" cy="5400000"/>
          </a:xfrm>
          <a:prstGeom prst="ellipse">
            <a:avLst/>
          </a:prstGeom>
          <a:solidFill>
            <a:srgbClr val="A0205D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04CB144-5DD3-43CE-B8A0-9676BBED4B39}"/>
              </a:ext>
            </a:extLst>
          </p:cNvPr>
          <p:cNvSpPr/>
          <p:nvPr/>
        </p:nvSpPr>
        <p:spPr>
          <a:xfrm>
            <a:off x="-179109" y="1740722"/>
            <a:ext cx="12594210" cy="26118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250000"/>
              </a:lnSpc>
            </a:pPr>
            <a:r>
              <a:rPr lang="en-US" sz="3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TEP 6 </a:t>
            </a:r>
          </a:p>
          <a:p>
            <a:pPr algn="ctr">
              <a:lnSpc>
                <a:spcPct val="250000"/>
              </a:lnSpc>
            </a:pPr>
            <a:r>
              <a:rPr lang="en-US" sz="3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aunching Procurement</a:t>
            </a:r>
          </a:p>
        </p:txBody>
      </p:sp>
    </p:spTree>
    <p:extLst>
      <p:ext uri="{BB962C8B-B14F-4D97-AF65-F5344CB8AC3E}">
        <p14:creationId xmlns:p14="http://schemas.microsoft.com/office/powerpoint/2010/main" val="76467170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DFC36386-C89D-457F-BA1A-34B052F3F55D}"/>
              </a:ext>
            </a:extLst>
          </p:cNvPr>
          <p:cNvSpPr txBox="1">
            <a:spLocks/>
          </p:cNvSpPr>
          <p:nvPr/>
        </p:nvSpPr>
        <p:spPr>
          <a:xfrm>
            <a:off x="1268159" y="336873"/>
            <a:ext cx="9966643" cy="2856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4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spc="-6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0" i="0" u="none" strike="noStrike" kern="1200" cap="none" spc="-6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/>
                <a:ea typeface="+mj-ea"/>
                <a:cs typeface="+mj-cs"/>
              </a:rPr>
              <a:t>SWOT Renowatt- QUANTITATIF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B74ABDC-313C-4581-ABCC-FE427075B6A1}"/>
              </a:ext>
            </a:extLst>
          </p:cNvPr>
          <p:cNvSpPr txBox="1"/>
          <p:nvPr/>
        </p:nvSpPr>
        <p:spPr>
          <a:xfrm>
            <a:off x="362336" y="1460135"/>
            <a:ext cx="3600000" cy="5061600"/>
          </a:xfrm>
          <a:prstGeom prst="rect">
            <a:avLst/>
          </a:prstGeom>
          <a:noFill/>
          <a:ln w="38100">
            <a:solidFill>
              <a:srgbClr val="123F75"/>
            </a:solidFill>
          </a:ln>
        </p:spPr>
        <p:txBody>
          <a:bodyPr wrap="square" rtlCol="0">
            <a:spAutoFit/>
          </a:bodyPr>
          <a:lstStyle/>
          <a:p>
            <a:pPr algn="ctr"/>
            <a:br>
              <a:rPr lang="fr-FR" sz="200" b="1">
                <a:solidFill>
                  <a:srgbClr val="9F1E5C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</a:br>
            <a:br>
              <a:rPr lang="fr-FR" sz="200" b="1">
                <a:solidFill>
                  <a:srgbClr val="9F1E5C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</a:br>
            <a:r>
              <a:rPr lang="fr-FR" sz="2500" b="1">
                <a:solidFill>
                  <a:srgbClr val="9F1E5C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cenario 1</a:t>
            </a:r>
            <a:endParaRPr lang="fr-FR" sz="200" b="1">
              <a:solidFill>
                <a:srgbClr val="9F1E5C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algn="ctr"/>
            <a:endParaRPr lang="fr-FR" sz="200"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lvl="0" algn="ctr"/>
            <a:r>
              <a:rPr lang="en-US" sz="1500" i="1">
                <a:solidFill>
                  <a:srgbClr val="9F1E5C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wimming pools, sports halls </a:t>
            </a:r>
            <a:br>
              <a:rPr lang="en-US" sz="1500" i="1">
                <a:solidFill>
                  <a:srgbClr val="9F1E5C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</a:br>
            <a:r>
              <a:rPr lang="en-US" sz="1500" i="1">
                <a:solidFill>
                  <a:srgbClr val="9F1E5C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and similar buildings</a:t>
            </a:r>
            <a:endParaRPr lang="fr-FR" sz="1500" i="1">
              <a:solidFill>
                <a:srgbClr val="9F1E5C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lvl="0" algn="ctr"/>
            <a:endParaRPr lang="fr-FR" sz="500" i="1">
              <a:solidFill>
                <a:srgbClr val="9F1E5C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lvl="0" algn="ctr"/>
            <a:r>
              <a:rPr lang="fr-FR" sz="2500" b="1">
                <a:solidFill>
                  <a:srgbClr val="9A1D6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LONG EPC</a:t>
            </a:r>
          </a:p>
          <a:p>
            <a:pPr lvl="0" algn="ctr"/>
            <a:endParaRPr lang="fr-FR" i="1">
              <a:solidFill>
                <a:srgbClr val="9F1E5C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lvl="0"/>
            <a:r>
              <a:rPr lang="fr-BE" sz="1300" u="sng" err="1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haracteristics</a:t>
            </a:r>
            <a:endParaRPr lang="fr-BE" sz="1300" u="sng">
              <a:solidFill>
                <a:srgbClr val="123F75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marL="285750" indent="-285750">
              <a:buClr>
                <a:srgbClr val="9A1D65"/>
              </a:buClr>
              <a:buFont typeface="Arial" panose="020B0604020202020204" pitchFamily="34" charset="0"/>
              <a:buChar char="•"/>
            </a:pPr>
            <a:r>
              <a:rPr lang="en-US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High energy consumption </a:t>
            </a:r>
            <a:br>
              <a:rPr lang="en-US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</a:br>
            <a:r>
              <a:rPr lang="en-US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(&gt; 30.000€ annual energy cost)</a:t>
            </a:r>
          </a:p>
          <a:p>
            <a:pPr marL="285750" indent="-285750">
              <a:buClr>
                <a:srgbClr val="9A1D65"/>
              </a:buClr>
              <a:buFont typeface="Arial" panose="020B0604020202020204" pitchFamily="34" charset="0"/>
              <a:buChar char="•"/>
            </a:pPr>
            <a:r>
              <a:rPr lang="fr-BE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High </a:t>
            </a:r>
            <a:r>
              <a:rPr lang="fr-BE" sz="1300" err="1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echnical</a:t>
            </a:r>
            <a:r>
              <a:rPr lang="fr-BE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 </a:t>
            </a:r>
            <a:r>
              <a:rPr lang="fr-BE" sz="1300" err="1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omplexity</a:t>
            </a:r>
            <a:endParaRPr lang="fr-BE" sz="1300">
              <a:solidFill>
                <a:srgbClr val="123F75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marL="285750" indent="-285750">
              <a:buClr>
                <a:srgbClr val="9A1D65"/>
              </a:buClr>
              <a:buFont typeface="Arial" panose="020B0604020202020204" pitchFamily="34" charset="0"/>
              <a:buChar char="•"/>
            </a:pPr>
            <a:r>
              <a:rPr lang="en-US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eed for a maintenance contract</a:t>
            </a:r>
          </a:p>
          <a:p>
            <a:pPr marL="285750" indent="-285750">
              <a:buClr>
                <a:srgbClr val="9A1D65"/>
              </a:buClr>
              <a:buFont typeface="Arial" panose="020B0604020202020204" pitchFamily="34" charset="0"/>
              <a:buChar char="•"/>
            </a:pPr>
            <a:r>
              <a:rPr lang="en-US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Knowledge of the energy </a:t>
            </a:r>
            <a:br>
              <a:rPr lang="en-US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</a:br>
            <a:r>
              <a:rPr lang="en-US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onsumption of buildings</a:t>
            </a:r>
            <a:br>
              <a:rPr lang="fr-BE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</a:br>
            <a:endParaRPr lang="fr-BE" sz="1300" u="sng">
              <a:solidFill>
                <a:srgbClr val="123F75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r>
              <a:rPr lang="fr-BE" sz="800" u="sng">
                <a:solidFill>
                  <a:schemeClr val="bg1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</a:t>
            </a:r>
            <a:br>
              <a:rPr lang="fr-BE" sz="1300" u="sng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</a:br>
            <a:r>
              <a:rPr lang="fr-BE" sz="1300" u="sng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olution</a:t>
            </a:r>
          </a:p>
          <a:p>
            <a:pPr marL="342900" indent="-342900">
              <a:buClr>
                <a:srgbClr val="9A1D65"/>
              </a:buClr>
              <a:buFont typeface="+mj-lt"/>
              <a:buAutoNum type="arabicPeriod"/>
            </a:pPr>
            <a:r>
              <a:rPr lang="fr-BE" sz="1300" err="1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etailed</a:t>
            </a:r>
            <a:r>
              <a:rPr lang="fr-BE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 </a:t>
            </a:r>
            <a:r>
              <a:rPr lang="fr-BE" sz="1300" err="1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QuickScan</a:t>
            </a:r>
            <a:r>
              <a:rPr lang="fr-BE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 </a:t>
            </a:r>
          </a:p>
          <a:p>
            <a:pPr marL="342900" indent="-342900">
              <a:buClr>
                <a:srgbClr val="9A1D65"/>
              </a:buClr>
              <a:buFont typeface="+mj-lt"/>
              <a:buAutoNum type="arabicPeriod"/>
            </a:pPr>
            <a:r>
              <a:rPr lang="fr-BE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CM and </a:t>
            </a:r>
            <a:r>
              <a:rPr lang="fr-BE" sz="1300" err="1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ntegrated</a:t>
            </a:r>
            <a:r>
              <a:rPr lang="fr-BE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 </a:t>
            </a:r>
            <a:br>
              <a:rPr lang="fr-BE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</a:br>
            <a:r>
              <a:rPr lang="fr-BE" sz="1300" err="1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optimization</a:t>
            </a:r>
            <a:r>
              <a:rPr lang="fr-BE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 phase</a:t>
            </a:r>
          </a:p>
          <a:p>
            <a:pPr marL="342900" indent="-342900">
              <a:buClr>
                <a:srgbClr val="9A1D65"/>
              </a:buClr>
              <a:buFont typeface="+mj-lt"/>
              <a:buAutoNum type="arabicPeriod"/>
            </a:pPr>
            <a:r>
              <a:rPr lang="en-US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TM allowing monitoring via </a:t>
            </a:r>
            <a:br>
              <a:rPr lang="en-US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</a:br>
            <a:r>
              <a:rPr lang="en-US" sz="1300" err="1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RenoWatt</a:t>
            </a:r>
            <a:r>
              <a:rPr lang="en-US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 tool</a:t>
            </a:r>
          </a:p>
          <a:p>
            <a:pPr marL="342900" indent="-342900">
              <a:buClr>
                <a:srgbClr val="9A1D65"/>
              </a:buClr>
              <a:buFont typeface="+mj-lt"/>
              <a:buAutoNum type="arabicPeriod"/>
            </a:pPr>
            <a:r>
              <a:rPr lang="fr-BE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PMVP </a:t>
            </a:r>
            <a:r>
              <a:rPr lang="fr-BE" sz="1300" err="1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managed</a:t>
            </a:r>
            <a:r>
              <a:rPr lang="fr-BE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 by the </a:t>
            </a:r>
            <a:r>
              <a:rPr lang="fr-BE" sz="1300" err="1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SCOs</a:t>
            </a:r>
            <a:endParaRPr lang="fr-BE" sz="1300">
              <a:solidFill>
                <a:srgbClr val="123F75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endParaRPr lang="fr-BE" sz="20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7DEE1328-88BF-4977-AE8C-4CBBAB128356}"/>
              </a:ext>
            </a:extLst>
          </p:cNvPr>
          <p:cNvSpPr txBox="1"/>
          <p:nvPr/>
        </p:nvSpPr>
        <p:spPr>
          <a:xfrm>
            <a:off x="4324672" y="1478800"/>
            <a:ext cx="3600000" cy="5062924"/>
          </a:xfrm>
          <a:prstGeom prst="rect">
            <a:avLst/>
          </a:prstGeom>
          <a:noFill/>
          <a:ln w="38100">
            <a:solidFill>
              <a:srgbClr val="123F75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fr-BE" sz="200" b="1">
              <a:solidFill>
                <a:srgbClr val="9F1E5C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algn="ctr"/>
            <a:br>
              <a:rPr lang="fr-BE" sz="200" b="1">
                <a:solidFill>
                  <a:srgbClr val="9F1E5C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</a:br>
            <a:r>
              <a:rPr lang="fr-BE" sz="2500" b="1">
                <a:solidFill>
                  <a:srgbClr val="9F1E5C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cenario 2 </a:t>
            </a:r>
          </a:p>
          <a:p>
            <a:endParaRPr lang="fr-BE" sz="200"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algn="ctr"/>
            <a:r>
              <a:rPr lang="en-US" sz="1500" i="1">
                <a:solidFill>
                  <a:srgbClr val="9F1E5C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Large municipal schools, municipal administrations and similar buildings</a:t>
            </a:r>
            <a:endParaRPr lang="fr-BE" sz="1500" i="1">
              <a:solidFill>
                <a:srgbClr val="9F1E5C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algn="ctr"/>
            <a:endParaRPr lang="fr-BE" sz="500" i="1">
              <a:solidFill>
                <a:srgbClr val="9F1E5C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algn="ctr"/>
            <a:r>
              <a:rPr lang="fr-BE" sz="2500" b="1">
                <a:solidFill>
                  <a:srgbClr val="9A1D6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HORT EPC</a:t>
            </a:r>
          </a:p>
          <a:p>
            <a:br>
              <a:rPr lang="fr-BE" sz="100" b="1">
                <a:latin typeface="Meiryo" panose="020B0604030504040204" pitchFamily="34" charset="-128"/>
                <a:ea typeface="Meiryo" panose="020B0604030504040204" pitchFamily="34" charset="-128"/>
              </a:rPr>
            </a:br>
            <a:br>
              <a:rPr lang="fr-BE" sz="100" b="1">
                <a:latin typeface="Meiryo" panose="020B0604030504040204" pitchFamily="34" charset="-128"/>
                <a:ea typeface="Meiryo" panose="020B0604030504040204" pitchFamily="34" charset="-128"/>
              </a:rPr>
            </a:br>
            <a:endParaRPr lang="fr-BE" sz="100" b="1"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lvl="0"/>
            <a:endParaRPr lang="fr-BE" sz="1300" u="sng">
              <a:solidFill>
                <a:srgbClr val="123F75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lvl="0"/>
            <a:r>
              <a:rPr lang="fr-BE" sz="1300" u="sng" err="1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haracteristics</a:t>
            </a:r>
            <a:endParaRPr lang="fr-BE" sz="1300" u="sng">
              <a:solidFill>
                <a:srgbClr val="123F75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marL="285750" indent="-285750">
              <a:buClr>
                <a:srgbClr val="9A1D65"/>
              </a:buClr>
              <a:buFont typeface="Arial" panose="020B0604020202020204" pitchFamily="34" charset="0"/>
              <a:buChar char="•"/>
            </a:pPr>
            <a:r>
              <a:rPr lang="en-US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Average energy consumption </a:t>
            </a:r>
            <a:br>
              <a:rPr lang="en-US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</a:br>
            <a:r>
              <a:rPr lang="en-US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(annual energy cost between  10.000€ and 30.000€)</a:t>
            </a:r>
          </a:p>
          <a:p>
            <a:pPr marL="285750" indent="-285750">
              <a:buClr>
                <a:srgbClr val="9A1D65"/>
              </a:buClr>
              <a:buFont typeface="Arial" panose="020B0604020202020204" pitchFamily="34" charset="0"/>
              <a:buChar char="•"/>
            </a:pPr>
            <a:r>
              <a:rPr lang="fr-BE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Medium </a:t>
            </a:r>
            <a:r>
              <a:rPr lang="fr-BE" sz="1300" err="1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echnical</a:t>
            </a:r>
            <a:r>
              <a:rPr lang="fr-BE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 </a:t>
            </a:r>
            <a:r>
              <a:rPr lang="fr-BE" sz="1300" err="1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omplexity</a:t>
            </a:r>
            <a:endParaRPr lang="fr-BE" sz="1300">
              <a:solidFill>
                <a:srgbClr val="123F75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marL="285750" indent="-285750">
              <a:buClr>
                <a:srgbClr val="9A1D65"/>
              </a:buClr>
              <a:buFont typeface="Arial" panose="020B0604020202020204" pitchFamily="34" charset="0"/>
              <a:buChar char="•"/>
            </a:pPr>
            <a:r>
              <a:rPr lang="en-US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Optional maintenance contract</a:t>
            </a:r>
          </a:p>
          <a:p>
            <a:pPr marL="285750" indent="-285750">
              <a:buClr>
                <a:srgbClr val="9A1D65"/>
              </a:buClr>
              <a:buFont typeface="Arial" panose="020B0604020202020204" pitchFamily="34" charset="0"/>
              <a:buChar char="•"/>
            </a:pPr>
            <a:r>
              <a:rPr lang="en-US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Knowledge of the energy </a:t>
            </a:r>
            <a:br>
              <a:rPr lang="en-US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</a:br>
            <a:r>
              <a:rPr lang="en-US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onsumption of buildings</a:t>
            </a:r>
            <a:br>
              <a:rPr lang="fr-BE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</a:br>
            <a:endParaRPr lang="fr-BE" sz="800">
              <a:solidFill>
                <a:srgbClr val="123F75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r>
              <a:rPr lang="fr-BE" sz="1300" u="sng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olution</a:t>
            </a:r>
            <a:r>
              <a:rPr lang="fr-BE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 </a:t>
            </a:r>
          </a:p>
          <a:p>
            <a:pPr marL="342900" indent="-342900">
              <a:buClr>
                <a:srgbClr val="9A1D65"/>
              </a:buClr>
              <a:buFont typeface="+mj-lt"/>
              <a:buAutoNum type="arabicPeriod"/>
            </a:pPr>
            <a:r>
              <a:rPr lang="fr-BE" sz="1300" err="1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etailed</a:t>
            </a:r>
            <a:r>
              <a:rPr lang="fr-BE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 </a:t>
            </a:r>
            <a:r>
              <a:rPr lang="fr-BE" sz="1300" err="1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Quickscan</a:t>
            </a:r>
            <a:endParaRPr lang="fr-BE" sz="1300">
              <a:solidFill>
                <a:srgbClr val="123F75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marL="342900" indent="-342900">
              <a:buClr>
                <a:srgbClr val="9A1D65"/>
              </a:buClr>
              <a:buFont typeface="+mj-lt"/>
              <a:buAutoNum type="arabicPeriod"/>
            </a:pPr>
            <a:r>
              <a:rPr lang="fr-BE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CM </a:t>
            </a:r>
          </a:p>
          <a:p>
            <a:pPr marL="342900" indent="-342900">
              <a:buClr>
                <a:srgbClr val="9A1D65"/>
              </a:buClr>
              <a:buFont typeface="+mj-lt"/>
              <a:buAutoNum type="arabicPeriod"/>
            </a:pPr>
            <a:r>
              <a:rPr lang="fr-BE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PE - GREI</a:t>
            </a:r>
          </a:p>
          <a:p>
            <a:pPr marL="342900" indent="-342900">
              <a:buClr>
                <a:srgbClr val="9A1D65"/>
              </a:buClr>
              <a:buFont typeface="+mj-lt"/>
              <a:buAutoNum type="arabicPeriod"/>
            </a:pPr>
            <a:r>
              <a:rPr lang="en-US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Automatic or manual consumption monitoring</a:t>
            </a:r>
          </a:p>
          <a:p>
            <a:pPr marL="342900" indent="-342900">
              <a:buClr>
                <a:srgbClr val="9A1D65"/>
              </a:buClr>
              <a:buFont typeface="+mj-lt"/>
              <a:buAutoNum type="arabicPeriod"/>
            </a:pPr>
            <a:r>
              <a:rPr lang="fr-BE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PMVP </a:t>
            </a:r>
            <a:r>
              <a:rPr lang="en-US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and energy countability </a:t>
            </a:r>
            <a:br>
              <a:rPr lang="en-US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</a:br>
            <a:r>
              <a:rPr lang="en-US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via </a:t>
            </a:r>
            <a:r>
              <a:rPr lang="en-US" sz="1300" err="1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RenoWatt</a:t>
            </a:r>
            <a:r>
              <a:rPr lang="en-US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 tool</a:t>
            </a:r>
            <a:endParaRPr lang="fr-BE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5FF95E59-D61F-41B4-8B92-5453925E9460}"/>
              </a:ext>
            </a:extLst>
          </p:cNvPr>
          <p:cNvSpPr txBox="1"/>
          <p:nvPr/>
        </p:nvSpPr>
        <p:spPr>
          <a:xfrm>
            <a:off x="8281241" y="1478800"/>
            <a:ext cx="3600000" cy="5061600"/>
          </a:xfrm>
          <a:prstGeom prst="rect">
            <a:avLst/>
          </a:prstGeom>
          <a:noFill/>
          <a:ln w="38100">
            <a:solidFill>
              <a:srgbClr val="123F75"/>
            </a:solidFill>
          </a:ln>
        </p:spPr>
        <p:txBody>
          <a:bodyPr wrap="square" rtlCol="0">
            <a:spAutoFit/>
          </a:bodyPr>
          <a:lstStyle/>
          <a:p>
            <a:pPr algn="ctr"/>
            <a:br>
              <a:rPr lang="fr-BE" sz="200" b="1">
                <a:solidFill>
                  <a:srgbClr val="9F1E5C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</a:br>
            <a:r>
              <a:rPr lang="fr-BE" sz="2500" b="1">
                <a:solidFill>
                  <a:srgbClr val="9F1E5C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cenario 3 </a:t>
            </a:r>
          </a:p>
          <a:p>
            <a:pPr algn="ctr"/>
            <a:endParaRPr lang="fr-BE" sz="200"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algn="ctr"/>
            <a:r>
              <a:rPr lang="en-US" sz="1500" i="1">
                <a:solidFill>
                  <a:srgbClr val="9F1E5C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mall schools, oil-fired buildings (without energy metering) </a:t>
            </a:r>
            <a:br>
              <a:rPr lang="en-US" sz="1500" i="1">
                <a:solidFill>
                  <a:srgbClr val="9F1E5C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</a:br>
            <a:r>
              <a:rPr lang="en-US" sz="1500" i="1">
                <a:solidFill>
                  <a:srgbClr val="9F1E5C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and similar buildings</a:t>
            </a:r>
            <a:endParaRPr lang="fr-BE" sz="1500" i="1">
              <a:solidFill>
                <a:srgbClr val="9F1E5C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algn="ctr"/>
            <a:endParaRPr lang="fr-BE" sz="500">
              <a:solidFill>
                <a:srgbClr val="9F1E5C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algn="ctr"/>
            <a:r>
              <a:rPr lang="fr-BE" sz="2500" b="1">
                <a:solidFill>
                  <a:srgbClr val="9A1D6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ESIGN &amp; BUILD</a:t>
            </a:r>
          </a:p>
          <a:p>
            <a:br>
              <a:rPr lang="fr-BE" sz="100" u="sng">
                <a:latin typeface="Meiryo" panose="020B0604030504040204" pitchFamily="34" charset="-128"/>
                <a:ea typeface="Meiryo" panose="020B0604030504040204" pitchFamily="34" charset="-128"/>
              </a:rPr>
            </a:br>
            <a:br>
              <a:rPr lang="fr-BE" sz="100" u="sng">
                <a:latin typeface="Meiryo" panose="020B0604030504040204" pitchFamily="34" charset="-128"/>
                <a:ea typeface="Meiryo" panose="020B0604030504040204" pitchFamily="34" charset="-128"/>
              </a:rPr>
            </a:br>
            <a:br>
              <a:rPr lang="fr-BE" sz="100" u="sng">
                <a:latin typeface="Meiryo" panose="020B0604030504040204" pitchFamily="34" charset="-128"/>
                <a:ea typeface="Meiryo" panose="020B0604030504040204" pitchFamily="34" charset="-128"/>
              </a:rPr>
            </a:br>
            <a:r>
              <a:rPr lang="fr-BE" sz="1300" u="sng" err="1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haracteristics</a:t>
            </a:r>
            <a:endParaRPr lang="fr-BE" sz="1300" u="sng">
              <a:solidFill>
                <a:srgbClr val="123F75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marL="285750" indent="-285750">
              <a:buClr>
                <a:srgbClr val="9A1D65"/>
              </a:buClr>
              <a:buFont typeface="Arial" panose="020B0604020202020204" pitchFamily="34" charset="0"/>
              <a:buChar char="•"/>
            </a:pPr>
            <a:r>
              <a:rPr lang="en-US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Low energy consumption </a:t>
            </a:r>
            <a:br>
              <a:rPr lang="en-US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</a:br>
            <a:r>
              <a:rPr lang="en-US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(annual energy cost &lt; 10.000€)</a:t>
            </a:r>
          </a:p>
          <a:p>
            <a:pPr marL="285750" indent="-285750">
              <a:buClr>
                <a:srgbClr val="9A1D65"/>
              </a:buClr>
              <a:buFont typeface="Arial" panose="020B0604020202020204" pitchFamily="34" charset="0"/>
              <a:buChar char="•"/>
            </a:pPr>
            <a:r>
              <a:rPr lang="fr-BE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Low </a:t>
            </a:r>
            <a:r>
              <a:rPr lang="fr-BE" sz="1300" err="1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technical</a:t>
            </a:r>
            <a:r>
              <a:rPr lang="fr-BE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 </a:t>
            </a:r>
            <a:r>
              <a:rPr lang="fr-BE" sz="1300" err="1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complexity</a:t>
            </a:r>
            <a:endParaRPr lang="fr-BE" sz="1300">
              <a:solidFill>
                <a:srgbClr val="123F75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pPr marL="285750" indent="-285750">
              <a:buClr>
                <a:srgbClr val="9A1D65"/>
              </a:buClr>
              <a:buFont typeface="Arial" panose="020B0604020202020204" pitchFamily="34" charset="0"/>
              <a:buChar char="•"/>
            </a:pPr>
            <a:r>
              <a:rPr lang="en-US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No maintenance contract</a:t>
            </a:r>
            <a:br>
              <a:rPr lang="fr-BE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</a:br>
            <a:endParaRPr lang="fr-BE" sz="1200">
              <a:solidFill>
                <a:srgbClr val="123F75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endParaRPr lang="fr-BE" sz="1100" u="sng">
              <a:solidFill>
                <a:srgbClr val="123F75"/>
              </a:solidFill>
              <a:latin typeface="Meiryo" panose="020B0604030504040204" pitchFamily="34" charset="-128"/>
              <a:ea typeface="Meiryo" panose="020B0604030504040204" pitchFamily="34" charset="-128"/>
            </a:endParaRPr>
          </a:p>
          <a:p>
            <a:r>
              <a:rPr lang="fr-BE" sz="1300" u="sng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Solution</a:t>
            </a:r>
            <a:r>
              <a:rPr lang="fr-BE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 </a:t>
            </a:r>
          </a:p>
          <a:p>
            <a:pPr marL="342900" indent="-342900">
              <a:buClr>
                <a:srgbClr val="9A1D65"/>
              </a:buClr>
              <a:buFont typeface="+mj-lt"/>
              <a:buAutoNum type="arabicPeriod"/>
            </a:pPr>
            <a:r>
              <a:rPr lang="fr-BE" sz="1300" err="1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etailed</a:t>
            </a:r>
            <a:r>
              <a:rPr lang="fr-BE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 Quickscan</a:t>
            </a:r>
          </a:p>
          <a:p>
            <a:pPr marL="342900" indent="-342900">
              <a:buClr>
                <a:srgbClr val="9A1D65"/>
              </a:buClr>
              <a:buFont typeface="+mj-lt"/>
              <a:buAutoNum type="arabicPeriod"/>
            </a:pPr>
            <a:r>
              <a:rPr lang="fr-BE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ECM </a:t>
            </a:r>
          </a:p>
          <a:p>
            <a:pPr marL="342900" indent="-342900">
              <a:buClr>
                <a:srgbClr val="9A1D65"/>
              </a:buClr>
              <a:buFont typeface="+mj-lt"/>
              <a:buAutoNum type="arabicPeriod"/>
            </a:pPr>
            <a:r>
              <a:rPr lang="en-US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D&amp;B carried out directly with specialized local companies</a:t>
            </a:r>
          </a:p>
          <a:p>
            <a:pPr marL="342900" indent="-342900">
              <a:buClr>
                <a:srgbClr val="9A1D65"/>
              </a:buClr>
              <a:buFont typeface="+mj-lt"/>
              <a:buAutoNum type="arabicPeriod"/>
            </a:pPr>
            <a:r>
              <a:rPr lang="en-US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Automatic or manual consumption monitoring</a:t>
            </a:r>
          </a:p>
          <a:p>
            <a:pPr marL="342900" indent="-342900">
              <a:buClr>
                <a:srgbClr val="9A1D65"/>
              </a:buClr>
              <a:buFont typeface="+mj-lt"/>
              <a:buAutoNum type="arabicPeriod"/>
            </a:pPr>
            <a:r>
              <a:rPr lang="fr-BE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IPMVP </a:t>
            </a:r>
            <a:r>
              <a:rPr lang="en-US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and energy countability </a:t>
            </a:r>
            <a:br>
              <a:rPr lang="en-US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</a:br>
            <a:r>
              <a:rPr lang="en-US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via </a:t>
            </a:r>
            <a:r>
              <a:rPr lang="en-US" sz="1300" err="1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RenoWatt</a:t>
            </a:r>
            <a:r>
              <a:rPr lang="en-US" sz="1300">
                <a:solidFill>
                  <a:srgbClr val="123F75"/>
                </a:solidFill>
                <a:latin typeface="Meiryo" panose="020B0604030504040204" pitchFamily="34" charset="-128"/>
                <a:ea typeface="Meiryo" panose="020B0604030504040204" pitchFamily="34" charset="-128"/>
              </a:rPr>
              <a:t> tool</a:t>
            </a:r>
            <a:endParaRPr lang="fr-BE" sz="1400">
              <a:latin typeface="Meiryo" panose="020B0604030504040204" pitchFamily="34" charset="-128"/>
              <a:ea typeface="Meiryo" panose="020B0604030504040204" pitchFamily="34" charset="-128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BCB4A64-7D74-4A66-A44F-1E280B2BE44A}"/>
              </a:ext>
            </a:extLst>
          </p:cNvPr>
          <p:cNvSpPr/>
          <p:nvPr/>
        </p:nvSpPr>
        <p:spPr>
          <a:xfrm>
            <a:off x="0" y="148817"/>
            <a:ext cx="121920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200" dirty="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tracting prioritization : </a:t>
            </a:r>
            <a:r>
              <a:rPr lang="en-US" sz="4200" dirty="0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hoosing criteria</a:t>
            </a:r>
          </a:p>
        </p:txBody>
      </p:sp>
      <p:sp>
        <p:nvSpPr>
          <p:cNvPr id="17" name="Espace réservé du numéro de diapositive 1">
            <a:extLst>
              <a:ext uri="{FF2B5EF4-FFF2-40B4-BE49-F238E27FC236}">
                <a16:creationId xmlns:a16="http://schemas.microsoft.com/office/drawing/2014/main" id="{6472D98B-CD5F-464C-8F66-41D4B16210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545476"/>
            <a:ext cx="2743200" cy="365125"/>
          </a:xfrm>
        </p:spPr>
        <p:txBody>
          <a:bodyPr/>
          <a:lstStyle/>
          <a:p>
            <a:fld id="{0A782538-02AD-4D54-ABDF-1108B5987306}" type="slidenum">
              <a:rPr lang="fr-BE" smtClean="0"/>
              <a:t>29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6769798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DFC36386-C89D-457F-BA1A-34B052F3F55D}"/>
              </a:ext>
            </a:extLst>
          </p:cNvPr>
          <p:cNvSpPr txBox="1">
            <a:spLocks/>
          </p:cNvSpPr>
          <p:nvPr/>
        </p:nvSpPr>
        <p:spPr>
          <a:xfrm>
            <a:off x="1268159" y="336873"/>
            <a:ext cx="9966643" cy="2856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4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spc="-6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0" i="0" u="none" strike="noStrike" kern="1200" cap="none" spc="-6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/>
                <a:ea typeface="+mj-ea"/>
                <a:cs typeface="+mj-cs"/>
              </a:rPr>
              <a:t>SWOT Renowatt- QUANTITATIF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BCB4A64-7D74-4A66-A44F-1E280B2BE44A}"/>
              </a:ext>
            </a:extLst>
          </p:cNvPr>
          <p:cNvSpPr/>
          <p:nvPr/>
        </p:nvSpPr>
        <p:spPr>
          <a:xfrm>
            <a:off x="0" y="105922"/>
            <a:ext cx="12192000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300" dirty="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upport local public authorities in their </a:t>
            </a:r>
            <a:br>
              <a:rPr lang="en-US" sz="3300" dirty="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3300" dirty="0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nergetic retrofitting projects through a one-stop-shop</a:t>
            </a:r>
          </a:p>
        </p:txBody>
      </p:sp>
      <p:sp>
        <p:nvSpPr>
          <p:cNvPr id="17" name="Espace réservé du numéro de diapositive 1">
            <a:extLst>
              <a:ext uri="{FF2B5EF4-FFF2-40B4-BE49-F238E27FC236}">
                <a16:creationId xmlns:a16="http://schemas.microsoft.com/office/drawing/2014/main" id="{6472D98B-CD5F-464C-8F66-41D4B16210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545476"/>
            <a:ext cx="2743200" cy="365125"/>
          </a:xfrm>
        </p:spPr>
        <p:txBody>
          <a:bodyPr/>
          <a:lstStyle/>
          <a:p>
            <a:fld id="{0A782538-02AD-4D54-ABDF-1108B5987306}" type="slidenum">
              <a:rPr lang="fr-BE" smtClean="0"/>
              <a:t>3</a:t>
            </a:fld>
            <a:endParaRPr lang="fr-BE"/>
          </a:p>
        </p:txBody>
      </p:sp>
      <p:pic>
        <p:nvPicPr>
          <p:cNvPr id="65" name="Image 64">
            <a:extLst>
              <a:ext uri="{FF2B5EF4-FFF2-40B4-BE49-F238E27FC236}">
                <a16:creationId xmlns:a16="http://schemas.microsoft.com/office/drawing/2014/main" id="{E6383847-4BFA-4DBA-AAFC-C339B6ECA12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4519" y="3310097"/>
            <a:ext cx="1466391" cy="1440000"/>
          </a:xfrm>
          <a:prstGeom prst="rect">
            <a:avLst/>
          </a:prstGeom>
        </p:spPr>
      </p:pic>
      <p:sp>
        <p:nvSpPr>
          <p:cNvPr id="69" name="Rectangle 68">
            <a:extLst>
              <a:ext uri="{FF2B5EF4-FFF2-40B4-BE49-F238E27FC236}">
                <a16:creationId xmlns:a16="http://schemas.microsoft.com/office/drawing/2014/main" id="{B209F01D-C37D-4F65-9640-E5C931FAB332}"/>
              </a:ext>
            </a:extLst>
          </p:cNvPr>
          <p:cNvSpPr/>
          <p:nvPr/>
        </p:nvSpPr>
        <p:spPr>
          <a:xfrm>
            <a:off x="4800345" y="1557643"/>
            <a:ext cx="2614152" cy="720000"/>
          </a:xfrm>
          <a:prstGeom prst="rect">
            <a:avLst/>
          </a:prstGeom>
          <a:solidFill>
            <a:schemeClr val="bg1"/>
          </a:solidFill>
          <a:ln w="28575">
            <a:solidFill>
              <a:srgbClr val="9D1E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</a:t>
            </a:r>
            <a:r>
              <a:rPr lang="en-US" sz="1400" b="1" kern="1200" dirty="0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CAL PUBLIC AUTHORITIES</a:t>
            </a:r>
            <a:endParaRPr lang="en-US" sz="1400" b="1" baseline="30000" dirty="0">
              <a:solidFill>
                <a:srgbClr val="9D1E5C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Légende : flèche vers le bas 1">
            <a:extLst>
              <a:ext uri="{FF2B5EF4-FFF2-40B4-BE49-F238E27FC236}">
                <a16:creationId xmlns:a16="http://schemas.microsoft.com/office/drawing/2014/main" id="{C4AD82F6-5BF9-484F-9BBC-23FAE66F6D07}"/>
              </a:ext>
            </a:extLst>
          </p:cNvPr>
          <p:cNvSpPr/>
          <p:nvPr/>
        </p:nvSpPr>
        <p:spPr>
          <a:xfrm>
            <a:off x="5191221" y="2521729"/>
            <a:ext cx="1832989" cy="612000"/>
          </a:xfrm>
          <a:prstGeom prst="downArrowCallout">
            <a:avLst/>
          </a:prstGeom>
          <a:solidFill>
            <a:schemeClr val="bg1"/>
          </a:solidFill>
          <a:ln w="19050">
            <a:solidFill>
              <a:srgbClr val="003E74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</a:t>
            </a:r>
            <a:r>
              <a:rPr lang="fr-BE" sz="1200" dirty="0" err="1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hesion</a:t>
            </a:r>
            <a:endParaRPr lang="en-US" sz="1200" baseline="30000" dirty="0">
              <a:solidFill>
                <a:srgbClr val="003E74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31AA53C-A1D7-44CA-BECA-14815FE48AA3}"/>
              </a:ext>
            </a:extLst>
          </p:cNvPr>
          <p:cNvSpPr/>
          <p:nvPr/>
        </p:nvSpPr>
        <p:spPr>
          <a:xfrm>
            <a:off x="129048" y="3670097"/>
            <a:ext cx="2614152" cy="720000"/>
          </a:xfrm>
          <a:prstGeom prst="rect">
            <a:avLst/>
          </a:prstGeom>
          <a:solidFill>
            <a:schemeClr val="bg1"/>
          </a:solidFill>
          <a:ln w="28575">
            <a:solidFill>
              <a:srgbClr val="9D1E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UILDINGS SCREEN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B3EECAA-0739-466D-AB93-1852EAEF01A4}"/>
              </a:ext>
            </a:extLst>
          </p:cNvPr>
          <p:cNvSpPr/>
          <p:nvPr/>
        </p:nvSpPr>
        <p:spPr>
          <a:xfrm>
            <a:off x="9448800" y="3678853"/>
            <a:ext cx="2614152" cy="720000"/>
          </a:xfrm>
          <a:prstGeom prst="rect">
            <a:avLst/>
          </a:prstGeom>
          <a:solidFill>
            <a:schemeClr val="bg1"/>
          </a:solidFill>
          <a:ln w="28575">
            <a:solidFill>
              <a:srgbClr val="9D1E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INANCING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CA94744-0C7A-434F-B924-6AF5DB967A6D}"/>
              </a:ext>
            </a:extLst>
          </p:cNvPr>
          <p:cNvSpPr/>
          <p:nvPr/>
        </p:nvSpPr>
        <p:spPr>
          <a:xfrm>
            <a:off x="4788924" y="5808433"/>
            <a:ext cx="2614152" cy="720000"/>
          </a:xfrm>
          <a:prstGeom prst="rect">
            <a:avLst/>
          </a:prstGeom>
          <a:solidFill>
            <a:schemeClr val="bg1"/>
          </a:solidFill>
          <a:ln w="28575">
            <a:solidFill>
              <a:srgbClr val="9D1E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ELECTION OF ESCO</a:t>
            </a:r>
          </a:p>
        </p:txBody>
      </p:sp>
      <p:sp>
        <p:nvSpPr>
          <p:cNvPr id="3" name="Légende : flèche vers le haut 2">
            <a:extLst>
              <a:ext uri="{FF2B5EF4-FFF2-40B4-BE49-F238E27FC236}">
                <a16:creationId xmlns:a16="http://schemas.microsoft.com/office/drawing/2014/main" id="{79373459-869C-4318-94FF-66FDD53A2186}"/>
              </a:ext>
            </a:extLst>
          </p:cNvPr>
          <p:cNvSpPr/>
          <p:nvPr/>
        </p:nvSpPr>
        <p:spPr>
          <a:xfrm>
            <a:off x="5179800" y="4952347"/>
            <a:ext cx="1832400" cy="612000"/>
          </a:xfrm>
          <a:prstGeom prst="upArrowCallout">
            <a:avLst/>
          </a:prstGeom>
          <a:solidFill>
            <a:schemeClr val="bg1"/>
          </a:solidFill>
          <a:ln w="19050">
            <a:solidFill>
              <a:srgbClr val="003E74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endering procedure</a:t>
            </a:r>
          </a:p>
        </p:txBody>
      </p:sp>
      <p:sp>
        <p:nvSpPr>
          <p:cNvPr id="4" name="Légende : flèche vers la gauche 3">
            <a:extLst>
              <a:ext uri="{FF2B5EF4-FFF2-40B4-BE49-F238E27FC236}">
                <a16:creationId xmlns:a16="http://schemas.microsoft.com/office/drawing/2014/main" id="{17C39CA3-8745-4641-908D-0D9D58D94938}"/>
              </a:ext>
            </a:extLst>
          </p:cNvPr>
          <p:cNvSpPr/>
          <p:nvPr/>
        </p:nvSpPr>
        <p:spPr>
          <a:xfrm>
            <a:off x="2911834" y="3599362"/>
            <a:ext cx="2257200" cy="900000"/>
          </a:xfrm>
          <a:prstGeom prst="leftArrowCallout">
            <a:avLst/>
          </a:prstGeom>
          <a:solidFill>
            <a:schemeClr val="bg1"/>
          </a:solidFill>
          <a:ln w="19050">
            <a:solidFill>
              <a:srgbClr val="003E74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election of buildings based on potential energy savings</a:t>
            </a:r>
          </a:p>
        </p:txBody>
      </p:sp>
      <p:sp>
        <p:nvSpPr>
          <p:cNvPr id="6" name="Légende : flèche vers la droite 5">
            <a:extLst>
              <a:ext uri="{FF2B5EF4-FFF2-40B4-BE49-F238E27FC236}">
                <a16:creationId xmlns:a16="http://schemas.microsoft.com/office/drawing/2014/main" id="{9FFA3C64-CAD0-48A0-9FA5-B961A2F75C98}"/>
              </a:ext>
            </a:extLst>
          </p:cNvPr>
          <p:cNvSpPr/>
          <p:nvPr/>
        </p:nvSpPr>
        <p:spPr>
          <a:xfrm>
            <a:off x="7024210" y="3580097"/>
            <a:ext cx="2255956" cy="900000"/>
          </a:xfrm>
          <a:prstGeom prst="rightArrowCallout">
            <a:avLst/>
          </a:prstGeom>
          <a:solidFill>
            <a:schemeClr val="bg1"/>
          </a:solidFill>
          <a:ln w="19050">
            <a:solidFill>
              <a:srgbClr val="003E74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ubsidized loans</a:t>
            </a:r>
          </a:p>
          <a:p>
            <a:r>
              <a:rPr lang="en-US" sz="12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ublic subsidies</a:t>
            </a:r>
          </a:p>
          <a:p>
            <a:r>
              <a:rPr lang="en-US" sz="12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ax incentives</a:t>
            </a:r>
          </a:p>
        </p:txBody>
      </p:sp>
    </p:spTree>
    <p:extLst>
      <p:ext uri="{BB962C8B-B14F-4D97-AF65-F5344CB8AC3E}">
        <p14:creationId xmlns:p14="http://schemas.microsoft.com/office/powerpoint/2010/main" val="88097774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DFC36386-C89D-457F-BA1A-34B052F3F55D}"/>
              </a:ext>
            </a:extLst>
          </p:cNvPr>
          <p:cNvSpPr txBox="1">
            <a:spLocks/>
          </p:cNvSpPr>
          <p:nvPr/>
        </p:nvSpPr>
        <p:spPr>
          <a:xfrm>
            <a:off x="1268159" y="336873"/>
            <a:ext cx="9966643" cy="2856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4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spc="-6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-6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/>
                <a:ea typeface="+mj-ea"/>
                <a:cs typeface="+mj-cs"/>
              </a:rPr>
              <a:t>SWOT Renowatt- QUANTITATIF</a:t>
            </a:r>
          </a:p>
        </p:txBody>
      </p:sp>
      <p:cxnSp>
        <p:nvCxnSpPr>
          <p:cNvPr id="20" name="Connecteur droit avec flèche 19">
            <a:extLst>
              <a:ext uri="{FF2B5EF4-FFF2-40B4-BE49-F238E27FC236}">
                <a16:creationId xmlns:a16="http://schemas.microsoft.com/office/drawing/2014/main" id="{47A76B89-3DAA-4ACF-A66E-EB8F521BC92E}"/>
              </a:ext>
            </a:extLst>
          </p:cNvPr>
          <p:cNvCxnSpPr>
            <a:cxnSpLocks/>
          </p:cNvCxnSpPr>
          <p:nvPr/>
        </p:nvCxnSpPr>
        <p:spPr>
          <a:xfrm>
            <a:off x="1388110" y="5871959"/>
            <a:ext cx="9765569" cy="0"/>
          </a:xfrm>
          <a:prstGeom prst="straightConnector1">
            <a:avLst/>
          </a:prstGeom>
          <a:ln w="57150">
            <a:solidFill>
              <a:srgbClr val="A0205D"/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95F2E87F-B721-4965-9353-162327A38234}"/>
              </a:ext>
            </a:extLst>
          </p:cNvPr>
          <p:cNvCxnSpPr>
            <a:cxnSpLocks/>
          </p:cNvCxnSpPr>
          <p:nvPr/>
        </p:nvCxnSpPr>
        <p:spPr>
          <a:xfrm>
            <a:off x="11153679" y="1187299"/>
            <a:ext cx="0" cy="5515292"/>
          </a:xfrm>
          <a:prstGeom prst="line">
            <a:avLst/>
          </a:prstGeom>
          <a:ln w="28575">
            <a:solidFill>
              <a:srgbClr val="A0205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4746FDD8-D734-4070-B25D-217149906B5C}"/>
              </a:ext>
            </a:extLst>
          </p:cNvPr>
          <p:cNvCxnSpPr>
            <a:cxnSpLocks/>
          </p:cNvCxnSpPr>
          <p:nvPr/>
        </p:nvCxnSpPr>
        <p:spPr>
          <a:xfrm>
            <a:off x="2958747" y="1237839"/>
            <a:ext cx="0" cy="4634120"/>
          </a:xfrm>
          <a:prstGeom prst="line">
            <a:avLst/>
          </a:prstGeom>
          <a:ln w="19050" cap="flat" cmpd="sng" algn="ctr">
            <a:solidFill>
              <a:srgbClr val="A0205D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id="{AE76AF46-84D6-444E-91E4-39E24B98F748}"/>
              </a:ext>
            </a:extLst>
          </p:cNvPr>
          <p:cNvCxnSpPr>
            <a:cxnSpLocks/>
          </p:cNvCxnSpPr>
          <p:nvPr/>
        </p:nvCxnSpPr>
        <p:spPr>
          <a:xfrm>
            <a:off x="6270894" y="1212569"/>
            <a:ext cx="0" cy="4659390"/>
          </a:xfrm>
          <a:prstGeom prst="line">
            <a:avLst/>
          </a:prstGeom>
          <a:ln w="28575">
            <a:solidFill>
              <a:srgbClr val="A0205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37">
            <a:extLst>
              <a:ext uri="{FF2B5EF4-FFF2-40B4-BE49-F238E27FC236}">
                <a16:creationId xmlns:a16="http://schemas.microsoft.com/office/drawing/2014/main" id="{6A3B1DF8-DEFF-440B-A079-062961E960A5}"/>
              </a:ext>
            </a:extLst>
          </p:cNvPr>
          <p:cNvCxnSpPr>
            <a:cxnSpLocks/>
          </p:cNvCxnSpPr>
          <p:nvPr/>
        </p:nvCxnSpPr>
        <p:spPr>
          <a:xfrm>
            <a:off x="4681798" y="1237839"/>
            <a:ext cx="0" cy="4634120"/>
          </a:xfrm>
          <a:prstGeom prst="line">
            <a:avLst/>
          </a:prstGeom>
          <a:ln w="19050" cap="flat" cmpd="sng" algn="ctr">
            <a:solidFill>
              <a:srgbClr val="A0205D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9" name="Connecteur droit 48">
            <a:extLst>
              <a:ext uri="{FF2B5EF4-FFF2-40B4-BE49-F238E27FC236}">
                <a16:creationId xmlns:a16="http://schemas.microsoft.com/office/drawing/2014/main" id="{F9838D8E-2623-436E-9F4F-056D210DE017}"/>
              </a:ext>
            </a:extLst>
          </p:cNvPr>
          <p:cNvCxnSpPr>
            <a:cxnSpLocks/>
          </p:cNvCxnSpPr>
          <p:nvPr/>
        </p:nvCxnSpPr>
        <p:spPr>
          <a:xfrm>
            <a:off x="6270894" y="3642805"/>
            <a:ext cx="4882785" cy="0"/>
          </a:xfrm>
          <a:prstGeom prst="line">
            <a:avLst/>
          </a:prstGeom>
          <a:ln w="76200">
            <a:solidFill>
              <a:srgbClr val="123F7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orme libre : forme 50">
            <a:extLst>
              <a:ext uri="{FF2B5EF4-FFF2-40B4-BE49-F238E27FC236}">
                <a16:creationId xmlns:a16="http://schemas.microsoft.com/office/drawing/2014/main" id="{B2312BBA-2972-4E27-A399-C2FBF2C402BE}"/>
              </a:ext>
            </a:extLst>
          </p:cNvPr>
          <p:cNvSpPr/>
          <p:nvPr/>
        </p:nvSpPr>
        <p:spPr>
          <a:xfrm>
            <a:off x="1360117" y="2308772"/>
            <a:ext cx="4910777" cy="1385331"/>
          </a:xfrm>
          <a:custGeom>
            <a:avLst/>
            <a:gdLst>
              <a:gd name="connsiteX0" fmla="*/ 4851918 w 4851918"/>
              <a:gd name="connsiteY0" fmla="*/ 1194318 h 1226213"/>
              <a:gd name="connsiteX1" fmla="*/ 2621902 w 4851918"/>
              <a:gd name="connsiteY1" fmla="*/ 1147665 h 1226213"/>
              <a:gd name="connsiteX2" fmla="*/ 1604865 w 4851918"/>
              <a:gd name="connsiteY2" fmla="*/ 513183 h 1226213"/>
              <a:gd name="connsiteX3" fmla="*/ 0 w 4851918"/>
              <a:gd name="connsiteY3" fmla="*/ 0 h 1226213"/>
              <a:gd name="connsiteX0" fmla="*/ 4851918 w 4851918"/>
              <a:gd name="connsiteY0" fmla="*/ 1194318 h 1220876"/>
              <a:gd name="connsiteX1" fmla="*/ 2621902 w 4851918"/>
              <a:gd name="connsiteY1" fmla="*/ 1147665 h 1220876"/>
              <a:gd name="connsiteX2" fmla="*/ 1827384 w 4851918"/>
              <a:gd name="connsiteY2" fmla="*/ 606489 h 1220876"/>
              <a:gd name="connsiteX3" fmla="*/ 0 w 4851918"/>
              <a:gd name="connsiteY3" fmla="*/ 0 h 1220876"/>
              <a:gd name="connsiteX0" fmla="*/ 4851918 w 4851918"/>
              <a:gd name="connsiteY0" fmla="*/ 1194318 h 1220876"/>
              <a:gd name="connsiteX1" fmla="*/ 2621902 w 4851918"/>
              <a:gd name="connsiteY1" fmla="*/ 1147665 h 1220876"/>
              <a:gd name="connsiteX2" fmla="*/ 1827384 w 4851918"/>
              <a:gd name="connsiteY2" fmla="*/ 606489 h 1220876"/>
              <a:gd name="connsiteX3" fmla="*/ 0 w 4851918"/>
              <a:gd name="connsiteY3" fmla="*/ 0 h 1220876"/>
              <a:gd name="connsiteX0" fmla="*/ 4870461 w 4870461"/>
              <a:gd name="connsiteY0" fmla="*/ 1436914 h 1463472"/>
              <a:gd name="connsiteX1" fmla="*/ 2640445 w 4870461"/>
              <a:gd name="connsiteY1" fmla="*/ 1390261 h 1463472"/>
              <a:gd name="connsiteX2" fmla="*/ 1845927 w 4870461"/>
              <a:gd name="connsiteY2" fmla="*/ 849085 h 1463472"/>
              <a:gd name="connsiteX3" fmla="*/ 0 w 4870461"/>
              <a:gd name="connsiteY3" fmla="*/ 0 h 1463472"/>
              <a:gd name="connsiteX0" fmla="*/ 4879732 w 4879732"/>
              <a:gd name="connsiteY0" fmla="*/ 1334278 h 1360836"/>
              <a:gd name="connsiteX1" fmla="*/ 2649716 w 4879732"/>
              <a:gd name="connsiteY1" fmla="*/ 1287625 h 1360836"/>
              <a:gd name="connsiteX2" fmla="*/ 1855198 w 4879732"/>
              <a:gd name="connsiteY2" fmla="*/ 746449 h 1360836"/>
              <a:gd name="connsiteX3" fmla="*/ 0 w 4879732"/>
              <a:gd name="connsiteY3" fmla="*/ 0 h 1360836"/>
              <a:gd name="connsiteX0" fmla="*/ 4879732 w 4879732"/>
              <a:gd name="connsiteY0" fmla="*/ 1334278 h 1360836"/>
              <a:gd name="connsiteX1" fmla="*/ 2649716 w 4879732"/>
              <a:gd name="connsiteY1" fmla="*/ 1287625 h 1360836"/>
              <a:gd name="connsiteX2" fmla="*/ 1855198 w 4879732"/>
              <a:gd name="connsiteY2" fmla="*/ 746449 h 1360836"/>
              <a:gd name="connsiteX3" fmla="*/ 0 w 4879732"/>
              <a:gd name="connsiteY3" fmla="*/ 0 h 1360836"/>
              <a:gd name="connsiteX0" fmla="*/ 4879732 w 4879732"/>
              <a:gd name="connsiteY0" fmla="*/ 1334278 h 1385331"/>
              <a:gd name="connsiteX1" fmla="*/ 2649716 w 4879732"/>
              <a:gd name="connsiteY1" fmla="*/ 1287625 h 1385331"/>
              <a:gd name="connsiteX2" fmla="*/ 1224728 w 4879732"/>
              <a:gd name="connsiteY2" fmla="*/ 354564 h 1385331"/>
              <a:gd name="connsiteX3" fmla="*/ 0 w 4879732"/>
              <a:gd name="connsiteY3" fmla="*/ 0 h 1385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79732" h="1385331">
                <a:moveTo>
                  <a:pt x="4879732" y="1334278"/>
                </a:moveTo>
                <a:cubicBezTo>
                  <a:pt x="4035311" y="1367712"/>
                  <a:pt x="3258883" y="1450911"/>
                  <a:pt x="2649716" y="1287625"/>
                </a:cubicBezTo>
                <a:cubicBezTo>
                  <a:pt x="2040549" y="1124339"/>
                  <a:pt x="1666347" y="569168"/>
                  <a:pt x="1224728" y="354564"/>
                </a:cubicBezTo>
                <a:cubicBezTo>
                  <a:pt x="783109" y="139960"/>
                  <a:pt x="689188" y="54429"/>
                  <a:pt x="0" y="0"/>
                </a:cubicBezTo>
              </a:path>
            </a:pathLst>
          </a:custGeom>
          <a:noFill/>
          <a:ln w="76200">
            <a:solidFill>
              <a:srgbClr val="123F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Forme libre : forme 51">
            <a:extLst>
              <a:ext uri="{FF2B5EF4-FFF2-40B4-BE49-F238E27FC236}">
                <a16:creationId xmlns:a16="http://schemas.microsoft.com/office/drawing/2014/main" id="{77A17124-FD98-4010-B265-E84DEC057DED}"/>
              </a:ext>
            </a:extLst>
          </p:cNvPr>
          <p:cNvSpPr/>
          <p:nvPr/>
        </p:nvSpPr>
        <p:spPr>
          <a:xfrm>
            <a:off x="6329591" y="3642805"/>
            <a:ext cx="4842588" cy="746449"/>
          </a:xfrm>
          <a:custGeom>
            <a:avLst/>
            <a:gdLst>
              <a:gd name="connsiteX0" fmla="*/ 0 w 4842588"/>
              <a:gd name="connsiteY0" fmla="*/ 0 h 746449"/>
              <a:gd name="connsiteX1" fmla="*/ 186613 w 4842588"/>
              <a:gd name="connsiteY1" fmla="*/ 429209 h 746449"/>
              <a:gd name="connsiteX2" fmla="*/ 727788 w 4842588"/>
              <a:gd name="connsiteY2" fmla="*/ 503854 h 746449"/>
              <a:gd name="connsiteX3" fmla="*/ 1604866 w 4842588"/>
              <a:gd name="connsiteY3" fmla="*/ 401217 h 746449"/>
              <a:gd name="connsiteX4" fmla="*/ 2220686 w 4842588"/>
              <a:gd name="connsiteY4" fmla="*/ 634482 h 746449"/>
              <a:gd name="connsiteX5" fmla="*/ 3051111 w 4842588"/>
              <a:gd name="connsiteY5" fmla="*/ 438539 h 746449"/>
              <a:gd name="connsiteX6" fmla="*/ 3526972 w 4842588"/>
              <a:gd name="connsiteY6" fmla="*/ 699796 h 746449"/>
              <a:gd name="connsiteX7" fmla="*/ 4842588 w 4842588"/>
              <a:gd name="connsiteY7" fmla="*/ 746449 h 746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842588" h="746449">
                <a:moveTo>
                  <a:pt x="0" y="0"/>
                </a:moveTo>
                <a:cubicBezTo>
                  <a:pt x="32657" y="172616"/>
                  <a:pt x="65315" y="345233"/>
                  <a:pt x="186613" y="429209"/>
                </a:cubicBezTo>
                <a:cubicBezTo>
                  <a:pt x="307911" y="513185"/>
                  <a:pt x="491413" y="508519"/>
                  <a:pt x="727788" y="503854"/>
                </a:cubicBezTo>
                <a:cubicBezTo>
                  <a:pt x="964163" y="499189"/>
                  <a:pt x="1356050" y="379446"/>
                  <a:pt x="1604866" y="401217"/>
                </a:cubicBezTo>
                <a:cubicBezTo>
                  <a:pt x="1853682" y="422988"/>
                  <a:pt x="1979645" y="628262"/>
                  <a:pt x="2220686" y="634482"/>
                </a:cubicBezTo>
                <a:cubicBezTo>
                  <a:pt x="2461727" y="640702"/>
                  <a:pt x="2833397" y="427653"/>
                  <a:pt x="3051111" y="438539"/>
                </a:cubicBezTo>
                <a:cubicBezTo>
                  <a:pt x="3268825" y="449425"/>
                  <a:pt x="3228393" y="648478"/>
                  <a:pt x="3526972" y="699796"/>
                </a:cubicBezTo>
                <a:cubicBezTo>
                  <a:pt x="3825552" y="751114"/>
                  <a:pt x="4623319" y="729343"/>
                  <a:pt x="4842588" y="746449"/>
                </a:cubicBezTo>
              </a:path>
            </a:pathLst>
          </a:custGeom>
          <a:ln w="76200" cap="flat" cmpd="sng" algn="ctr">
            <a:solidFill>
              <a:srgbClr val="123F75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FA575D11-AB15-4023-B3C1-96BD8DB76271}"/>
              </a:ext>
            </a:extLst>
          </p:cNvPr>
          <p:cNvSpPr txBox="1"/>
          <p:nvPr/>
        </p:nvSpPr>
        <p:spPr>
          <a:xfrm>
            <a:off x="1442556" y="4829968"/>
            <a:ext cx="15183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visional works acceptance </a:t>
            </a:r>
          </a:p>
        </p:txBody>
      </p:sp>
      <p:sp>
        <p:nvSpPr>
          <p:cNvPr id="55" name="ZoneTexte 54">
            <a:extLst>
              <a:ext uri="{FF2B5EF4-FFF2-40B4-BE49-F238E27FC236}">
                <a16:creationId xmlns:a16="http://schemas.microsoft.com/office/drawing/2014/main" id="{C394E317-31C5-4491-A156-5BDDB37DDF07}"/>
              </a:ext>
            </a:extLst>
          </p:cNvPr>
          <p:cNvSpPr txBox="1"/>
          <p:nvPr/>
        </p:nvSpPr>
        <p:spPr>
          <a:xfrm>
            <a:off x="6256449" y="1349396"/>
            <a:ext cx="48972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i="1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uilding’s Operational  phase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22B6E6CF-6409-4923-A1F0-53494C49B2E1}"/>
              </a:ext>
            </a:extLst>
          </p:cNvPr>
          <p:cNvSpPr txBox="1"/>
          <p:nvPr/>
        </p:nvSpPr>
        <p:spPr>
          <a:xfrm>
            <a:off x="4606382" y="1332837"/>
            <a:ext cx="16645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i="1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tabilization phase</a:t>
            </a:r>
          </a:p>
        </p:txBody>
      </p:sp>
      <p:sp>
        <p:nvSpPr>
          <p:cNvPr id="57" name="ZoneTexte 56">
            <a:extLst>
              <a:ext uri="{FF2B5EF4-FFF2-40B4-BE49-F238E27FC236}">
                <a16:creationId xmlns:a16="http://schemas.microsoft.com/office/drawing/2014/main" id="{AC0D4848-9214-4FA8-A0A9-1545A5E8A24B}"/>
              </a:ext>
            </a:extLst>
          </p:cNvPr>
          <p:cNvSpPr txBox="1"/>
          <p:nvPr/>
        </p:nvSpPr>
        <p:spPr>
          <a:xfrm>
            <a:off x="2953162" y="1338992"/>
            <a:ext cx="171614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i="1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mmissioning and adjustment phase</a:t>
            </a:r>
          </a:p>
        </p:txBody>
      </p:sp>
      <p:sp>
        <p:nvSpPr>
          <p:cNvPr id="58" name="ZoneTexte 57">
            <a:extLst>
              <a:ext uri="{FF2B5EF4-FFF2-40B4-BE49-F238E27FC236}">
                <a16:creationId xmlns:a16="http://schemas.microsoft.com/office/drawing/2014/main" id="{DAF26A30-38F1-41A5-9626-E902EFC50308}"/>
              </a:ext>
            </a:extLst>
          </p:cNvPr>
          <p:cNvSpPr txBox="1"/>
          <p:nvPr/>
        </p:nvSpPr>
        <p:spPr>
          <a:xfrm>
            <a:off x="1388111" y="1350740"/>
            <a:ext cx="162719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i="1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tudy and construction period</a:t>
            </a:r>
          </a:p>
        </p:txBody>
      </p:sp>
      <p:sp>
        <p:nvSpPr>
          <p:cNvPr id="59" name="ZoneTexte 58">
            <a:extLst>
              <a:ext uri="{FF2B5EF4-FFF2-40B4-BE49-F238E27FC236}">
                <a16:creationId xmlns:a16="http://schemas.microsoft.com/office/drawing/2014/main" id="{3E7FD99A-29A0-4A84-9F68-72BF943679E8}"/>
              </a:ext>
            </a:extLst>
          </p:cNvPr>
          <p:cNvSpPr txBox="1"/>
          <p:nvPr/>
        </p:nvSpPr>
        <p:spPr>
          <a:xfrm>
            <a:off x="11140769" y="5743727"/>
            <a:ext cx="684279" cy="2305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IME</a:t>
            </a:r>
            <a:endParaRPr lang="en-US" sz="800" b="1">
              <a:solidFill>
                <a:srgbClr val="A0205D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0" name="ZoneTexte 59">
            <a:extLst>
              <a:ext uri="{FF2B5EF4-FFF2-40B4-BE49-F238E27FC236}">
                <a16:creationId xmlns:a16="http://schemas.microsoft.com/office/drawing/2014/main" id="{26946AB9-2D1B-42F9-B1B6-BAADFFC5C37A}"/>
              </a:ext>
            </a:extLst>
          </p:cNvPr>
          <p:cNvSpPr txBox="1"/>
          <p:nvPr/>
        </p:nvSpPr>
        <p:spPr>
          <a:xfrm>
            <a:off x="8724029" y="3323607"/>
            <a:ext cx="252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easured performance</a:t>
            </a:r>
          </a:p>
        </p:txBody>
      </p:sp>
      <p:sp>
        <p:nvSpPr>
          <p:cNvPr id="61" name="ZoneTexte 60">
            <a:extLst>
              <a:ext uri="{FF2B5EF4-FFF2-40B4-BE49-F238E27FC236}">
                <a16:creationId xmlns:a16="http://schemas.microsoft.com/office/drawing/2014/main" id="{F0818A78-704D-41C5-AB7E-030D8341A8C6}"/>
              </a:ext>
            </a:extLst>
          </p:cNvPr>
          <p:cNvSpPr txBox="1"/>
          <p:nvPr/>
        </p:nvSpPr>
        <p:spPr>
          <a:xfrm>
            <a:off x="8780114" y="4404805"/>
            <a:ext cx="2520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creasing and boosting energy savings throughout the EPC</a:t>
            </a:r>
          </a:p>
        </p:txBody>
      </p:sp>
      <p:cxnSp>
        <p:nvCxnSpPr>
          <p:cNvPr id="63" name="Connecteur droit avec flèche 62">
            <a:extLst>
              <a:ext uri="{FF2B5EF4-FFF2-40B4-BE49-F238E27FC236}">
                <a16:creationId xmlns:a16="http://schemas.microsoft.com/office/drawing/2014/main" id="{3D68DA8C-D561-4168-9FE9-D3EA995317C8}"/>
              </a:ext>
            </a:extLst>
          </p:cNvPr>
          <p:cNvCxnSpPr>
            <a:cxnSpLocks/>
          </p:cNvCxnSpPr>
          <p:nvPr/>
        </p:nvCxnSpPr>
        <p:spPr>
          <a:xfrm>
            <a:off x="1388110" y="6688718"/>
            <a:ext cx="9765568" cy="0"/>
          </a:xfrm>
          <a:prstGeom prst="straightConnector1">
            <a:avLst/>
          </a:prstGeom>
          <a:ln w="28575">
            <a:solidFill>
              <a:srgbClr val="9A1D6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cteur droit avec flèche 64">
            <a:extLst>
              <a:ext uri="{FF2B5EF4-FFF2-40B4-BE49-F238E27FC236}">
                <a16:creationId xmlns:a16="http://schemas.microsoft.com/office/drawing/2014/main" id="{A9AD535B-6834-44A3-8E9E-6AC3FE356127}"/>
              </a:ext>
            </a:extLst>
          </p:cNvPr>
          <p:cNvCxnSpPr>
            <a:cxnSpLocks/>
          </p:cNvCxnSpPr>
          <p:nvPr/>
        </p:nvCxnSpPr>
        <p:spPr>
          <a:xfrm>
            <a:off x="1388107" y="6412050"/>
            <a:ext cx="9765568" cy="0"/>
          </a:xfrm>
          <a:prstGeom prst="straightConnector1">
            <a:avLst/>
          </a:prstGeom>
          <a:ln w="28575">
            <a:solidFill>
              <a:srgbClr val="9A1D6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ZoneTexte 65">
            <a:extLst>
              <a:ext uri="{FF2B5EF4-FFF2-40B4-BE49-F238E27FC236}">
                <a16:creationId xmlns:a16="http://schemas.microsoft.com/office/drawing/2014/main" id="{FF958353-6D3C-48F2-BB22-504268BC9095}"/>
              </a:ext>
            </a:extLst>
          </p:cNvPr>
          <p:cNvSpPr txBox="1"/>
          <p:nvPr/>
        </p:nvSpPr>
        <p:spPr>
          <a:xfrm>
            <a:off x="3293209" y="4761309"/>
            <a:ext cx="146518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visional work acceptance (building)</a:t>
            </a:r>
          </a:p>
        </p:txBody>
      </p:sp>
      <p:sp>
        <p:nvSpPr>
          <p:cNvPr id="67" name="ZoneTexte 66">
            <a:extLst>
              <a:ext uri="{FF2B5EF4-FFF2-40B4-BE49-F238E27FC236}">
                <a16:creationId xmlns:a16="http://schemas.microsoft.com/office/drawing/2014/main" id="{DD1AE404-3516-4EF5-B9F6-A1C2552D253E}"/>
              </a:ext>
            </a:extLst>
          </p:cNvPr>
          <p:cNvSpPr txBox="1"/>
          <p:nvPr/>
        </p:nvSpPr>
        <p:spPr>
          <a:xfrm>
            <a:off x="6329591" y="4824785"/>
            <a:ext cx="20452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nergetic Performance Reception</a:t>
            </a:r>
          </a:p>
        </p:txBody>
      </p:sp>
      <p:sp>
        <p:nvSpPr>
          <p:cNvPr id="68" name="Accolade fermante 67">
            <a:extLst>
              <a:ext uri="{FF2B5EF4-FFF2-40B4-BE49-F238E27FC236}">
                <a16:creationId xmlns:a16="http://schemas.microsoft.com/office/drawing/2014/main" id="{82565B00-3DF5-486F-8B04-1AF5D4B0E87B}"/>
              </a:ext>
            </a:extLst>
          </p:cNvPr>
          <p:cNvSpPr/>
          <p:nvPr/>
        </p:nvSpPr>
        <p:spPr>
          <a:xfrm rot="16200000">
            <a:off x="2186190" y="5107423"/>
            <a:ext cx="372573" cy="1128754"/>
          </a:xfrm>
          <a:prstGeom prst="rightBrace">
            <a:avLst>
              <a:gd name="adj1" fmla="val 8333"/>
              <a:gd name="adj2" fmla="val 50827"/>
            </a:avLst>
          </a:prstGeom>
          <a:ln w="19050">
            <a:solidFill>
              <a:srgbClr val="123F7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Accolade fermante 68">
            <a:extLst>
              <a:ext uri="{FF2B5EF4-FFF2-40B4-BE49-F238E27FC236}">
                <a16:creationId xmlns:a16="http://schemas.microsoft.com/office/drawing/2014/main" id="{B0E4F700-F81A-4B63-B8AC-2C095A5CE0B5}"/>
              </a:ext>
            </a:extLst>
          </p:cNvPr>
          <p:cNvSpPr/>
          <p:nvPr/>
        </p:nvSpPr>
        <p:spPr>
          <a:xfrm rot="16200000">
            <a:off x="6707682" y="5121295"/>
            <a:ext cx="372573" cy="1128754"/>
          </a:xfrm>
          <a:prstGeom prst="rightBrace">
            <a:avLst>
              <a:gd name="adj1" fmla="val 8333"/>
              <a:gd name="adj2" fmla="val 48347"/>
            </a:avLst>
          </a:prstGeom>
          <a:ln w="19050">
            <a:solidFill>
              <a:srgbClr val="123F7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Accolade fermante 69">
            <a:extLst>
              <a:ext uri="{FF2B5EF4-FFF2-40B4-BE49-F238E27FC236}">
                <a16:creationId xmlns:a16="http://schemas.microsoft.com/office/drawing/2014/main" id="{97438273-D7E9-452D-9460-1097F84539EA}"/>
              </a:ext>
            </a:extLst>
          </p:cNvPr>
          <p:cNvSpPr/>
          <p:nvPr/>
        </p:nvSpPr>
        <p:spPr>
          <a:xfrm rot="16200000">
            <a:off x="3054412" y="5390438"/>
            <a:ext cx="372573" cy="526984"/>
          </a:xfrm>
          <a:prstGeom prst="rightBrace">
            <a:avLst>
              <a:gd name="adj1" fmla="val 8333"/>
              <a:gd name="adj2" fmla="val 45863"/>
            </a:avLst>
          </a:prstGeom>
          <a:ln w="19050">
            <a:solidFill>
              <a:srgbClr val="123F7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ZoneTexte 71">
            <a:extLst>
              <a:ext uri="{FF2B5EF4-FFF2-40B4-BE49-F238E27FC236}">
                <a16:creationId xmlns:a16="http://schemas.microsoft.com/office/drawing/2014/main" id="{C4CB9A56-AAFA-4235-B726-8FB091F1BD17}"/>
              </a:ext>
            </a:extLst>
          </p:cNvPr>
          <p:cNvSpPr txBox="1"/>
          <p:nvPr/>
        </p:nvSpPr>
        <p:spPr>
          <a:xfrm>
            <a:off x="1388110" y="5901809"/>
            <a:ext cx="4882781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b="1" err="1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GREi</a:t>
            </a:r>
            <a:r>
              <a:rPr lang="en-US" sz="1500" b="1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PHASE </a:t>
            </a:r>
            <a:r>
              <a:rPr lang="en-US" sz="1300" b="1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2-3 years) </a:t>
            </a:r>
            <a:br>
              <a:rPr lang="en-US" sz="1300" b="1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1100" b="1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</a:t>
            </a:r>
            <a:r>
              <a:rPr lang="en-US" sz="1100" b="1" err="1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ital</a:t>
            </a:r>
            <a:r>
              <a:rPr lang="en-US" sz="1100" b="1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Guaranteed savings) </a:t>
            </a:r>
            <a:br>
              <a:rPr lang="en-US" sz="1100" b="1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en-US" sz="1100" b="1">
              <a:solidFill>
                <a:srgbClr val="01407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3" name="ZoneTexte 72">
            <a:extLst>
              <a:ext uri="{FF2B5EF4-FFF2-40B4-BE49-F238E27FC236}">
                <a16:creationId xmlns:a16="http://schemas.microsoft.com/office/drawing/2014/main" id="{A1FAC56E-6BC3-42AB-B215-FAF3D9E3E559}"/>
              </a:ext>
            </a:extLst>
          </p:cNvPr>
          <p:cNvSpPr txBox="1"/>
          <p:nvPr/>
        </p:nvSpPr>
        <p:spPr>
          <a:xfrm>
            <a:off x="6051174" y="5883381"/>
            <a:ext cx="5199440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b="1" err="1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GREe</a:t>
            </a:r>
            <a:r>
              <a:rPr lang="en-US" sz="1500" b="1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/o</a:t>
            </a:r>
            <a:r>
              <a:rPr lang="en-US" sz="1400" b="1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PHASE </a:t>
            </a:r>
            <a:r>
              <a:rPr lang="en-US" sz="1300" b="1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rest of EPC) </a:t>
            </a:r>
            <a:br>
              <a:rPr lang="en-US" sz="1300" b="1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1100" b="1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Operational Guaranteed savings) </a:t>
            </a:r>
            <a:br>
              <a:rPr lang="en-US" sz="1100" b="1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en-US" sz="1100" b="1">
              <a:solidFill>
                <a:srgbClr val="01407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4" name="ZoneTexte 73">
            <a:extLst>
              <a:ext uri="{FF2B5EF4-FFF2-40B4-BE49-F238E27FC236}">
                <a16:creationId xmlns:a16="http://schemas.microsoft.com/office/drawing/2014/main" id="{ED1A0B9A-4ACB-489F-B902-08C2355997C8}"/>
              </a:ext>
            </a:extLst>
          </p:cNvPr>
          <p:cNvSpPr txBox="1"/>
          <p:nvPr/>
        </p:nvSpPr>
        <p:spPr>
          <a:xfrm>
            <a:off x="1389939" y="6355513"/>
            <a:ext cx="9765566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900" b="1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PC</a:t>
            </a:r>
            <a:r>
              <a:rPr lang="en-US" b="1">
                <a:solidFill>
                  <a:srgbClr val="123F75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</a:t>
            </a:r>
            <a:r>
              <a:rPr lang="en-US" sz="1500" b="1">
                <a:solidFill>
                  <a:srgbClr val="123F75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10 – 15 years)</a:t>
            </a:r>
          </a:p>
        </p:txBody>
      </p:sp>
      <p:sp>
        <p:nvSpPr>
          <p:cNvPr id="47" name="ZoneTexte 46">
            <a:extLst>
              <a:ext uri="{FF2B5EF4-FFF2-40B4-BE49-F238E27FC236}">
                <a16:creationId xmlns:a16="http://schemas.microsoft.com/office/drawing/2014/main" id="{D703742F-58F4-4602-B530-98DD3733BA74}"/>
              </a:ext>
            </a:extLst>
          </p:cNvPr>
          <p:cNvSpPr txBox="1"/>
          <p:nvPr/>
        </p:nvSpPr>
        <p:spPr>
          <a:xfrm>
            <a:off x="193081" y="1156860"/>
            <a:ext cx="13632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NERGY CONSUMPTION</a:t>
            </a:r>
          </a:p>
        </p:txBody>
      </p:sp>
      <p:cxnSp>
        <p:nvCxnSpPr>
          <p:cNvPr id="48" name="Connecteur droit avec flèche 47">
            <a:extLst>
              <a:ext uri="{FF2B5EF4-FFF2-40B4-BE49-F238E27FC236}">
                <a16:creationId xmlns:a16="http://schemas.microsoft.com/office/drawing/2014/main" id="{33681C3A-8968-4165-AA79-68703C8DBB80}"/>
              </a:ext>
            </a:extLst>
          </p:cNvPr>
          <p:cNvCxnSpPr>
            <a:cxnSpLocks/>
          </p:cNvCxnSpPr>
          <p:nvPr/>
        </p:nvCxnSpPr>
        <p:spPr>
          <a:xfrm rot="16200000">
            <a:off x="-1382737" y="3982634"/>
            <a:ext cx="5515200" cy="0"/>
          </a:xfrm>
          <a:prstGeom prst="straightConnector1">
            <a:avLst/>
          </a:prstGeom>
          <a:ln w="57150">
            <a:solidFill>
              <a:srgbClr val="A0205D"/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612D4A72-B865-40D6-A6B3-838FD59C3C0C}"/>
              </a:ext>
            </a:extLst>
          </p:cNvPr>
          <p:cNvSpPr/>
          <p:nvPr/>
        </p:nvSpPr>
        <p:spPr>
          <a:xfrm>
            <a:off x="0" y="10213"/>
            <a:ext cx="1219200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60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PC</a:t>
            </a:r>
            <a:r>
              <a:rPr lang="en-US" sz="6000" dirty="0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phases</a:t>
            </a:r>
          </a:p>
        </p:txBody>
      </p:sp>
      <p:sp>
        <p:nvSpPr>
          <p:cNvPr id="46" name="Espace réservé du numéro de diapositive 1">
            <a:extLst>
              <a:ext uri="{FF2B5EF4-FFF2-40B4-BE49-F238E27FC236}">
                <a16:creationId xmlns:a16="http://schemas.microsoft.com/office/drawing/2014/main" id="{9EA62F21-69D9-4BF4-B8A5-B963DC759D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545476"/>
            <a:ext cx="2743200" cy="365125"/>
          </a:xfrm>
        </p:spPr>
        <p:txBody>
          <a:bodyPr/>
          <a:lstStyle/>
          <a:p>
            <a:fld id="{0A782538-02AD-4D54-ABDF-1108B5987306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392383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DA5D084-C552-496E-B9AA-EE3D7E9E0F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05789"/>
            <a:ext cx="12192000" cy="1325563"/>
          </a:xfrm>
        </p:spPr>
        <p:txBody>
          <a:bodyPr>
            <a:noAutofit/>
          </a:bodyPr>
          <a:lstStyle/>
          <a:p>
            <a:pPr algn="ctr"/>
            <a:br>
              <a:rPr lang="fr-FR" sz="5400" dirty="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fr-FR" sz="5400" dirty="0" err="1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cedures</a:t>
            </a:r>
            <a:r>
              <a:rPr lang="fr-FR" sz="54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on </a:t>
            </a:r>
            <a:r>
              <a:rPr lang="fr-FR" sz="5400" dirty="0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ublic </a:t>
            </a:r>
            <a:r>
              <a:rPr lang="fr-FR" sz="5400" dirty="0" err="1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curement</a:t>
            </a:r>
            <a:r>
              <a:rPr lang="fr-FR" sz="5400" dirty="0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fr-FR" sz="5400" dirty="0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  </a:t>
            </a:r>
            <a:br>
              <a:rPr lang="fr-BE" sz="5400" dirty="0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fr-BE" sz="5400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F1F12EE1-43B0-4590-9490-78F653572E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5543" y="2283850"/>
            <a:ext cx="11934547" cy="4351338"/>
          </a:xfrm>
        </p:spPr>
        <p:txBody>
          <a:bodyPr>
            <a:normAutofit/>
          </a:bodyPr>
          <a:lstStyle/>
          <a:p>
            <a:pPr>
              <a:buClr>
                <a:srgbClr val="A0205D"/>
              </a:buClr>
              <a:buFont typeface="Wingdings" panose="05000000000000000000" pitchFamily="2" charset="2"/>
              <a:buChar char="q"/>
            </a:pPr>
            <a:r>
              <a:rPr lang="fr-FR" sz="2400" dirty="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</a:t>
            </a:r>
            <a:r>
              <a:rPr lang="fr-FR" sz="2400" dirty="0" err="1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hoice</a:t>
            </a:r>
            <a:r>
              <a:rPr lang="fr-FR" sz="2400" dirty="0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of </a:t>
            </a:r>
            <a:r>
              <a:rPr lang="fr-FR" sz="2400" dirty="0" err="1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cedure</a:t>
            </a:r>
            <a:r>
              <a:rPr lang="fr-FR" sz="2400" dirty="0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 : </a:t>
            </a:r>
            <a:r>
              <a:rPr lang="fr-FR" sz="2400" dirty="0" err="1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mpetitive</a:t>
            </a:r>
            <a:r>
              <a:rPr lang="fr-FR" sz="2400" dirty="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fr-FR" sz="2400" dirty="0" err="1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cedure</a:t>
            </a:r>
            <a:r>
              <a:rPr lang="fr-FR" sz="2400" dirty="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fr-FR" sz="2400" dirty="0" err="1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with</a:t>
            </a:r>
            <a:r>
              <a:rPr lang="fr-FR" sz="2400" dirty="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fr-FR" sz="2400" dirty="0" err="1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egociation</a:t>
            </a:r>
            <a:r>
              <a:rPr lang="fr-FR" sz="2400" dirty="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br>
              <a:rPr lang="fr-FR" sz="2400" dirty="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fr-FR" sz="2400" dirty="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				 </a:t>
            </a:r>
            <a:r>
              <a:rPr lang="fr-FR" sz="2000" dirty="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fr-FR" sz="1600" dirty="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</a:t>
            </a:r>
            <a:r>
              <a:rPr lang="en-US" sz="1600" dirty="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rticle 28 Belgian Law of 17/06/2016 on Public Procurement</a:t>
            </a:r>
            <a:r>
              <a:rPr lang="fr-FR" sz="1600" dirty="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)</a:t>
            </a:r>
            <a:br>
              <a:rPr lang="fr-FR" sz="2000" dirty="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fr-FR" sz="2000" dirty="0">
              <a:solidFill>
                <a:srgbClr val="01407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buClr>
                <a:srgbClr val="A0205D"/>
              </a:buClr>
              <a:buFont typeface="Wingdings" panose="05000000000000000000" pitchFamily="2" charset="2"/>
              <a:buChar char="q"/>
            </a:pPr>
            <a:r>
              <a:rPr lang="fr-FR" sz="2400" dirty="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</a:t>
            </a:r>
            <a:r>
              <a:rPr lang="fr-FR" sz="2400" dirty="0" err="1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Why</a:t>
            </a:r>
            <a:r>
              <a:rPr lang="fr-FR" sz="2400" dirty="0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?</a:t>
            </a:r>
            <a:r>
              <a:rPr lang="fr-FR" sz="2400" dirty="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2400" dirty="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mplexity level of contract, technical and financial risks </a:t>
            </a:r>
            <a:br>
              <a:rPr lang="en-US" sz="2400" dirty="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2400" dirty="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          (specific constraints of local public authorities)</a:t>
            </a:r>
            <a:br>
              <a:rPr lang="fr-FR" sz="2400" dirty="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fr-FR" sz="2400" dirty="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            </a:t>
            </a:r>
            <a:r>
              <a:rPr lang="fr-FR" sz="2000" dirty="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</a:t>
            </a:r>
            <a:br>
              <a:rPr lang="fr-FR" sz="2000" dirty="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fr-FR" sz="2000" dirty="0">
              <a:solidFill>
                <a:srgbClr val="01407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buClr>
                <a:srgbClr val="A0205D"/>
              </a:buClr>
              <a:buFont typeface="Wingdings" panose="05000000000000000000" pitchFamily="2" charset="2"/>
              <a:buChar char="q"/>
            </a:pPr>
            <a:r>
              <a:rPr lang="fr-FR" sz="2400" dirty="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</a:t>
            </a:r>
            <a:r>
              <a:rPr lang="fr-FR" sz="2400" dirty="0" err="1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ocedure</a:t>
            </a:r>
            <a:r>
              <a:rPr lang="fr-FR" sz="2400" dirty="0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fr-FR" sz="2400" dirty="0" err="1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with</a:t>
            </a:r>
            <a:r>
              <a:rPr lang="fr-FR" sz="2400" dirty="0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2 phases : </a:t>
            </a:r>
          </a:p>
          <a:p>
            <a:pPr lvl="2">
              <a:buClr>
                <a:srgbClr val="9D1E5C"/>
              </a:buClr>
              <a:buFont typeface="Wingdings" panose="05000000000000000000" pitchFamily="2" charset="2"/>
              <a:buChar char="Ø"/>
            </a:pPr>
            <a:r>
              <a:rPr lang="fr-FR" dirty="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</a:t>
            </a:r>
            <a:r>
              <a:rPr lang="en-US" dirty="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ll for competition with qualitative selection : list of tenderers</a:t>
            </a:r>
            <a:endParaRPr lang="fr-FR" dirty="0">
              <a:solidFill>
                <a:srgbClr val="01407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2">
              <a:buClr>
                <a:srgbClr val="9D1E5C"/>
              </a:buClr>
              <a:buFont typeface="Wingdings" panose="05000000000000000000" pitchFamily="2" charset="2"/>
              <a:buChar char="Ø"/>
            </a:pPr>
            <a:r>
              <a:rPr lang="fr-FR" dirty="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</a:t>
            </a:r>
            <a:r>
              <a:rPr lang="en-US" dirty="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ender process : initial tender on basis of the procurement documents,</a:t>
            </a:r>
            <a:br>
              <a:rPr lang="en-US" dirty="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dirty="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</a:t>
            </a:r>
            <a:r>
              <a:rPr lang="en-US" dirty="0" err="1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egociations</a:t>
            </a:r>
            <a:r>
              <a:rPr lang="en-US" dirty="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, final tenders, award decision (Board of Directors BEFIN) </a:t>
            </a:r>
            <a:endParaRPr lang="fr-BE" sz="1800" dirty="0">
              <a:solidFill>
                <a:srgbClr val="01407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Espace réservé du numéro de diapositive 1">
            <a:extLst>
              <a:ext uri="{FF2B5EF4-FFF2-40B4-BE49-F238E27FC236}">
                <a16:creationId xmlns:a16="http://schemas.microsoft.com/office/drawing/2014/main" id="{2CBF7473-C833-4B19-B151-C7B4AB42F6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71302"/>
            <a:ext cx="2743200" cy="365125"/>
          </a:xfrm>
        </p:spPr>
        <p:txBody>
          <a:bodyPr/>
          <a:lstStyle/>
          <a:p>
            <a:fld id="{0A782538-02AD-4D54-ABDF-1108B5987306}" type="slidenum">
              <a:rPr lang="fr-BE" smtClean="0"/>
              <a:t>31</a:t>
            </a:fld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19823611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BD41598C-1EEC-4549-9D9E-8430408012CF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5616" y="101975"/>
            <a:ext cx="6920754" cy="679620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0694798-1FB2-4134-A40C-7378FC158057}"/>
              </a:ext>
            </a:extLst>
          </p:cNvPr>
          <p:cNvSpPr/>
          <p:nvPr/>
        </p:nvSpPr>
        <p:spPr>
          <a:xfrm>
            <a:off x="4186510" y="2761129"/>
            <a:ext cx="2160494" cy="132556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4" name="Titre 1">
            <a:extLst>
              <a:ext uri="{FF2B5EF4-FFF2-40B4-BE49-F238E27FC236}">
                <a16:creationId xmlns:a16="http://schemas.microsoft.com/office/drawing/2014/main" id="{8A88A47E-A267-404A-9B1D-04E26DBAFF07}"/>
              </a:ext>
            </a:extLst>
          </p:cNvPr>
          <p:cNvSpPr txBox="1">
            <a:spLocks/>
          </p:cNvSpPr>
          <p:nvPr/>
        </p:nvSpPr>
        <p:spPr>
          <a:xfrm>
            <a:off x="0" y="2555510"/>
            <a:ext cx="12192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fr-FR" sz="8000" b="1" dirty="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CLUSIONS   </a:t>
            </a:r>
          </a:p>
        </p:txBody>
      </p:sp>
    </p:spTree>
    <p:extLst>
      <p:ext uri="{BB962C8B-B14F-4D97-AF65-F5344CB8AC3E}">
        <p14:creationId xmlns:p14="http://schemas.microsoft.com/office/powerpoint/2010/main" val="122767477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1">
            <a:extLst>
              <a:ext uri="{FF2B5EF4-FFF2-40B4-BE49-F238E27FC236}">
                <a16:creationId xmlns:a16="http://schemas.microsoft.com/office/drawing/2014/main" id="{49F487DC-542D-4429-89C0-498CAFD5D3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71302"/>
            <a:ext cx="2743200" cy="365125"/>
          </a:xfrm>
        </p:spPr>
        <p:txBody>
          <a:bodyPr/>
          <a:lstStyle/>
          <a:p>
            <a:fld id="{0A782538-02AD-4D54-ABDF-1108B5987306}" type="slidenum">
              <a:rPr lang="fr-BE" smtClean="0"/>
              <a:t>33</a:t>
            </a:fld>
            <a:endParaRPr lang="fr-BE"/>
          </a:p>
        </p:txBody>
      </p:sp>
      <p:sp>
        <p:nvSpPr>
          <p:cNvPr id="8" name="TextBox 5">
            <a:extLst>
              <a:ext uri="{FF2B5EF4-FFF2-40B4-BE49-F238E27FC236}">
                <a16:creationId xmlns:a16="http://schemas.microsoft.com/office/drawing/2014/main" id="{20673618-C0A0-4425-B910-7DD208FB28C2}"/>
              </a:ext>
            </a:extLst>
          </p:cNvPr>
          <p:cNvSpPr txBox="1"/>
          <p:nvPr/>
        </p:nvSpPr>
        <p:spPr>
          <a:xfrm>
            <a:off x="487051" y="1946987"/>
            <a:ext cx="11217897" cy="40934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marL="0" lvl="0" indent="0" eaLnBrk="0">
              <a:lnSpc>
                <a:spcPct val="100000"/>
              </a:lnSpc>
              <a:spcAft>
                <a:spcPts val="0"/>
              </a:spcAft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3200" lvl="1" indent="-203200" eaLnBrk="0">
              <a:lnSpc>
                <a:spcPct val="100000"/>
              </a:lnSpc>
              <a:spcAft>
                <a:spcPts val="0"/>
              </a:spcAft>
              <a:buClr>
                <a:schemeClr val="accent4"/>
              </a:buClr>
              <a:buSzPct val="120000"/>
              <a:buFont typeface="Arial" pitchFamily="34" charset="0"/>
              <a:buChar char="▪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49263" lvl="2" indent="-231775" eaLnBrk="0">
              <a:lnSpc>
                <a:spcPct val="100000"/>
              </a:lnSpc>
              <a:spcAft>
                <a:spcPts val="0"/>
              </a:spcAft>
              <a:buClr>
                <a:schemeClr val="accent4"/>
              </a:buClr>
              <a:buFont typeface="Arial" pitchFamily="34" charset="0"/>
              <a:buChar char="‒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82625" lvl="3" indent="-233363" eaLnBrk="0">
              <a:lnSpc>
                <a:spcPct val="100000"/>
              </a:lnSpc>
              <a:spcAft>
                <a:spcPts val="0"/>
              </a:spcAft>
              <a:buClr>
                <a:schemeClr val="accent4"/>
              </a:buClr>
              <a:buFont typeface="Wingdings" pitchFamily="2" charset="2"/>
              <a:buChar char="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942975" lvl="4" indent="-246063" eaLnBrk="0">
              <a:lnSpc>
                <a:spcPct val="100000"/>
              </a:lnSpc>
              <a:spcAft>
                <a:spcPts val="0"/>
              </a:spcAft>
              <a:buClr>
                <a:schemeClr val="accent4"/>
              </a:buClr>
              <a:buFont typeface="Arial" pitchFamily="34" charset="0"/>
              <a:buChar char="-"/>
              <a:defRPr sz="1600"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lvl="1">
              <a:buClr>
                <a:srgbClr val="9D1E5C"/>
              </a:buClr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Challenges to </a:t>
            </a:r>
            <a:r>
              <a:rPr lang="en-US" sz="1400" b="1" dirty="0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nvince public authorities </a:t>
            </a:r>
            <a:r>
              <a:rPr lang="en-US" sz="14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o adopt ambitious energetical policies </a:t>
            </a:r>
          </a:p>
          <a:p>
            <a:pPr marL="0" lvl="1" indent="0">
              <a:buClr>
                <a:srgbClr val="9D1E5C"/>
              </a:buClr>
              <a:buNone/>
            </a:pPr>
            <a:endParaRPr lang="en-US" sz="1400" b="1" dirty="0">
              <a:solidFill>
                <a:srgbClr val="9D1E5C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1">
              <a:buClr>
                <a:srgbClr val="9D1E5C"/>
              </a:buClr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Thorough energy monitoring and </a:t>
            </a:r>
            <a:r>
              <a:rPr lang="en-US" sz="1400" b="1" dirty="0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 collection </a:t>
            </a:r>
            <a:r>
              <a:rPr lang="en-US" sz="14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s required for each building before starting the studies </a:t>
            </a:r>
          </a:p>
          <a:p>
            <a:pPr lvl="1">
              <a:buClr>
                <a:srgbClr val="9D1E5C"/>
              </a:buClr>
              <a:buFont typeface="Wingdings" panose="05000000000000000000" pitchFamily="2" charset="2"/>
              <a:buChar char="Ø"/>
            </a:pPr>
            <a:endParaRPr lang="en-US" sz="1400" b="1" dirty="0">
              <a:solidFill>
                <a:srgbClr val="9D1E5C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1">
              <a:buClr>
                <a:srgbClr val="9D1E5C"/>
              </a:buClr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Holistic approach through deep renovation is the </a:t>
            </a:r>
            <a:r>
              <a:rPr lang="en-US" sz="1400" b="1" dirty="0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ne and only way </a:t>
            </a:r>
            <a:r>
              <a:rPr lang="en-US" sz="14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o achieve long term goals</a:t>
            </a:r>
          </a:p>
          <a:p>
            <a:pPr lvl="1">
              <a:buClr>
                <a:srgbClr val="9D1E5C"/>
              </a:buClr>
              <a:buFont typeface="Wingdings" panose="05000000000000000000" pitchFamily="2" charset="2"/>
              <a:buChar char="Ø"/>
            </a:pPr>
            <a:endParaRPr lang="en-US" sz="1400" b="1" dirty="0">
              <a:solidFill>
                <a:srgbClr val="9D1E5C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1">
              <a:buClr>
                <a:srgbClr val="9D1E5C"/>
              </a:buClr>
              <a:buFont typeface="Wingdings" panose="05000000000000000000" pitchFamily="2" charset="2"/>
              <a:buChar char="Ø"/>
            </a:pPr>
            <a:r>
              <a:rPr lang="en-US" sz="1400" b="1" dirty="0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</a:t>
            </a:r>
            <a:r>
              <a:rPr lang="en-US" sz="14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rtial approach generates </a:t>
            </a:r>
            <a:r>
              <a:rPr lang="en-US" sz="1400" b="1" dirty="0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echnical locking </a:t>
            </a:r>
            <a:r>
              <a:rPr lang="en-US" sz="14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hat hinders achieving long term goals </a:t>
            </a:r>
          </a:p>
          <a:p>
            <a:pPr lvl="1">
              <a:buClr>
                <a:srgbClr val="9D1E5C"/>
              </a:buClr>
              <a:buFont typeface="Wingdings" panose="05000000000000000000" pitchFamily="2" charset="2"/>
              <a:buChar char="Ø"/>
            </a:pPr>
            <a:endParaRPr lang="en-US" sz="1400" b="1" dirty="0">
              <a:solidFill>
                <a:srgbClr val="9D1E5C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1">
              <a:buClr>
                <a:srgbClr val="9D1E5C"/>
              </a:buClr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</a:t>
            </a:r>
            <a:r>
              <a:rPr lang="en-US" sz="1400" b="1" dirty="0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dditional qualities </a:t>
            </a:r>
            <a:r>
              <a:rPr lang="en-US" sz="14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re needed to be included in the renovation process (e.g. architectural, heritage, aesthetical, etc.)</a:t>
            </a:r>
          </a:p>
          <a:p>
            <a:pPr lvl="1">
              <a:buClr>
                <a:srgbClr val="9D1E5C"/>
              </a:buClr>
              <a:buFont typeface="Wingdings" panose="05000000000000000000" pitchFamily="2" charset="2"/>
              <a:buChar char="Ø"/>
            </a:pPr>
            <a:endParaRPr lang="en-US" sz="14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1">
              <a:buClr>
                <a:srgbClr val="9D1E5C"/>
              </a:buClr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Local authorities need to </a:t>
            </a:r>
            <a:r>
              <a:rPr lang="en-US" sz="1400" b="1" dirty="0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ommit to </a:t>
            </a:r>
            <a:r>
              <a:rPr lang="en-US" sz="14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he project</a:t>
            </a:r>
            <a:endParaRPr lang="en-US" sz="14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1">
              <a:buClr>
                <a:srgbClr val="9D1E5C"/>
              </a:buClr>
              <a:buFont typeface="Wingdings" panose="05000000000000000000" pitchFamily="2" charset="2"/>
              <a:buChar char="Ø"/>
            </a:pPr>
            <a:endParaRPr lang="en-US" sz="14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1">
              <a:buClr>
                <a:srgbClr val="9D1E5C"/>
              </a:buClr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EPC is not the only solution – check </a:t>
            </a:r>
            <a:r>
              <a:rPr lang="en-US" sz="1400" b="1" dirty="0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ifferent types of contracts </a:t>
            </a:r>
            <a:r>
              <a:rPr lang="en-US" sz="14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or different types of buildings </a:t>
            </a:r>
            <a:endParaRPr lang="en-US" sz="14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1">
              <a:buClr>
                <a:srgbClr val="9D1E5C"/>
              </a:buClr>
              <a:buFont typeface="Wingdings" panose="05000000000000000000" pitchFamily="2" charset="2"/>
              <a:buChar char="Ø"/>
            </a:pPr>
            <a:endParaRPr lang="en-US" sz="14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1">
              <a:buClr>
                <a:srgbClr val="9D1E5C"/>
              </a:buClr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Tendering procedure is expensive … technical assistance is a great help – Averaged sized local authorities do not have</a:t>
            </a:r>
            <a:br>
              <a:rPr lang="en-US" sz="14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14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the capacity to conceive such contracts and need to be guided by a </a:t>
            </a:r>
            <a:r>
              <a:rPr lang="en-US" sz="1400" b="1" dirty="0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n-profit facilitator</a:t>
            </a:r>
            <a:endParaRPr lang="en-US" sz="1400" dirty="0">
              <a:solidFill>
                <a:srgbClr val="003E74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1">
              <a:buClr>
                <a:srgbClr val="9D1E5C"/>
              </a:buClr>
              <a:buFont typeface="Wingdings" panose="05000000000000000000" pitchFamily="2" charset="2"/>
              <a:buChar char="Ø"/>
            </a:pPr>
            <a:endParaRPr lang="en-US" sz="14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1">
              <a:buClr>
                <a:srgbClr val="9D1E5C"/>
              </a:buClr>
              <a:buFont typeface="Wingdings" panose="05000000000000000000" pitchFamily="2" charset="2"/>
              <a:buChar char="Ø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</a:rPr>
              <a:t>  </a:t>
            </a:r>
            <a:r>
              <a:rPr lang="en-US" sz="14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ocal authorities are needed to be </a:t>
            </a:r>
            <a:r>
              <a:rPr lang="en-US" sz="1400" b="1" dirty="0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rained</a:t>
            </a:r>
            <a:r>
              <a:rPr lang="en-US" sz="14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to follow up the execution of the projects</a:t>
            </a:r>
          </a:p>
          <a:p>
            <a:pPr lvl="1">
              <a:buClr>
                <a:srgbClr val="9D1E5C"/>
              </a:buClr>
              <a:buFont typeface="Wingdings" panose="05000000000000000000" pitchFamily="2" charset="2"/>
              <a:buChar char="Ø"/>
            </a:pPr>
            <a:endParaRPr lang="en-US" sz="1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91F3AAFB-D9F6-422B-B1BE-D7820A1ED955}"/>
              </a:ext>
            </a:extLst>
          </p:cNvPr>
          <p:cNvSpPr txBox="1">
            <a:spLocks/>
          </p:cNvSpPr>
          <p:nvPr/>
        </p:nvSpPr>
        <p:spPr>
          <a:xfrm>
            <a:off x="275208" y="0"/>
            <a:ext cx="9029048" cy="13365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10000"/>
              </a:lnSpc>
            </a:pPr>
            <a:r>
              <a:rPr lang="en-US" sz="5400" dirty="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US" sz="5400" dirty="0">
                <a:solidFill>
                  <a:srgbClr val="014076"/>
                </a:solidFill>
                <a:latin typeface="Verdana"/>
                <a:ea typeface="Verdana"/>
                <a:cs typeface="Verdana"/>
              </a:rPr>
              <a:t>Lessons learned </a:t>
            </a:r>
            <a:r>
              <a:rPr lang="en-US" sz="5400" dirty="0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y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764C5F5B-DFCC-4566-833E-94E5CEB1522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2710" y="70854"/>
            <a:ext cx="1466390" cy="14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606919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 21">
            <a:extLst>
              <a:ext uri="{FF2B5EF4-FFF2-40B4-BE49-F238E27FC236}">
                <a16:creationId xmlns:a16="http://schemas.microsoft.com/office/drawing/2014/main" id="{9D38E873-CC8F-4A1D-A595-99AC1D14232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800" y="301739"/>
            <a:ext cx="6520333" cy="6402991"/>
          </a:xfrm>
          <a:prstGeom prst="rect">
            <a:avLst/>
          </a:prstGeom>
        </p:spPr>
      </p:pic>
      <p:sp>
        <p:nvSpPr>
          <p:cNvPr id="4" name="Titre 1">
            <a:extLst>
              <a:ext uri="{FF2B5EF4-FFF2-40B4-BE49-F238E27FC236}">
                <a16:creationId xmlns:a16="http://schemas.microsoft.com/office/drawing/2014/main" id="{8A88A47E-A267-404A-9B1D-04E26DBAFF07}"/>
              </a:ext>
            </a:extLst>
          </p:cNvPr>
          <p:cNvSpPr txBox="1">
            <a:spLocks/>
          </p:cNvSpPr>
          <p:nvPr/>
        </p:nvSpPr>
        <p:spPr>
          <a:xfrm>
            <a:off x="4882896" y="-111772"/>
            <a:ext cx="7427383" cy="204823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fr-BE" sz="7000">
              <a:solidFill>
                <a:srgbClr val="A0205D"/>
              </a:solidFill>
              <a:latin typeface="Gotham" panose="02000504050000020004" pitchFamily="2" charset="0"/>
            </a:endParaRPr>
          </a:p>
        </p:txBody>
      </p:sp>
      <p:sp>
        <p:nvSpPr>
          <p:cNvPr id="23" name="Titre 1">
            <a:extLst>
              <a:ext uri="{FF2B5EF4-FFF2-40B4-BE49-F238E27FC236}">
                <a16:creationId xmlns:a16="http://schemas.microsoft.com/office/drawing/2014/main" id="{D0219D8E-7456-4505-AFCF-66425234A846}"/>
              </a:ext>
            </a:extLst>
          </p:cNvPr>
          <p:cNvSpPr txBox="1">
            <a:spLocks/>
          </p:cNvSpPr>
          <p:nvPr/>
        </p:nvSpPr>
        <p:spPr>
          <a:xfrm>
            <a:off x="6169451" y="3326119"/>
            <a:ext cx="5491246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7200" b="1">
                <a:solidFill>
                  <a:srgbClr val="9A1D65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KNOWING </a:t>
            </a:r>
            <a:endParaRPr lang="fr-BE" sz="880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6B60CD36-11DA-4606-8686-FD7E02ACEA49}"/>
              </a:ext>
            </a:extLst>
          </p:cNvPr>
          <p:cNvSpPr txBox="1"/>
          <p:nvPr/>
        </p:nvSpPr>
        <p:spPr>
          <a:xfrm>
            <a:off x="5612235" y="531076"/>
            <a:ext cx="657976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7200" b="1">
                <a:solidFill>
                  <a:srgbClr val="123F75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EASURING </a:t>
            </a:r>
            <a:endParaRPr lang="fr-BE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8B45DDCD-A009-42B2-AFFB-C43E49AD278F}"/>
              </a:ext>
            </a:extLst>
          </p:cNvPr>
          <p:cNvSpPr txBox="1"/>
          <p:nvPr/>
        </p:nvSpPr>
        <p:spPr>
          <a:xfrm>
            <a:off x="8400962" y="1542942"/>
            <a:ext cx="1154744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5000" b="1">
                <a:solidFill>
                  <a:srgbClr val="123F75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S</a:t>
            </a:r>
            <a:endParaRPr lang="fr-BE" sz="500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9D5A4B5C-523F-4466-993E-1AFF0BACE339}"/>
              </a:ext>
            </a:extLst>
          </p:cNvPr>
          <p:cNvSpPr txBox="1"/>
          <p:nvPr/>
        </p:nvSpPr>
        <p:spPr>
          <a:xfrm>
            <a:off x="6000040" y="2244174"/>
            <a:ext cx="580415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7200" b="1">
                <a:solidFill>
                  <a:srgbClr val="123F75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KNOWING</a:t>
            </a:r>
          </a:p>
        </p:txBody>
      </p:sp>
      <p:sp>
        <p:nvSpPr>
          <p:cNvPr id="26" name="Titre 1">
            <a:extLst>
              <a:ext uri="{FF2B5EF4-FFF2-40B4-BE49-F238E27FC236}">
                <a16:creationId xmlns:a16="http://schemas.microsoft.com/office/drawing/2014/main" id="{55E67794-1E5E-4CA2-9201-2DA26110CB79}"/>
              </a:ext>
            </a:extLst>
          </p:cNvPr>
          <p:cNvSpPr txBox="1">
            <a:spLocks/>
          </p:cNvSpPr>
          <p:nvPr/>
        </p:nvSpPr>
        <p:spPr>
          <a:xfrm>
            <a:off x="6417126" y="5110002"/>
            <a:ext cx="530729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7200" b="1">
                <a:solidFill>
                  <a:srgbClr val="9A1D65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CTING </a:t>
            </a:r>
            <a:endParaRPr lang="fr-BE" sz="880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7" name="Titre 1">
            <a:extLst>
              <a:ext uri="{FF2B5EF4-FFF2-40B4-BE49-F238E27FC236}">
                <a16:creationId xmlns:a16="http://schemas.microsoft.com/office/drawing/2014/main" id="{0E907899-6F9A-448E-8036-59E4440E2F35}"/>
              </a:ext>
            </a:extLst>
          </p:cNvPr>
          <p:cNvSpPr txBox="1">
            <a:spLocks/>
          </p:cNvSpPr>
          <p:nvPr/>
        </p:nvSpPr>
        <p:spPr>
          <a:xfrm>
            <a:off x="8546899" y="4178055"/>
            <a:ext cx="112239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5000" b="1">
                <a:solidFill>
                  <a:srgbClr val="9A1D65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S </a:t>
            </a:r>
            <a:endParaRPr lang="fr-BE" sz="500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2513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ADB2A0B-DAFF-4F1E-ABBE-FB82D1ADBDC2}"/>
              </a:ext>
            </a:extLst>
          </p:cNvPr>
          <p:cNvSpPr/>
          <p:nvPr/>
        </p:nvSpPr>
        <p:spPr>
          <a:xfrm>
            <a:off x="-179109" y="-75414"/>
            <a:ext cx="12594210" cy="7343480"/>
          </a:xfrm>
          <a:prstGeom prst="rect">
            <a:avLst/>
          </a:prstGeom>
          <a:solidFill>
            <a:srgbClr val="01407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id="{0EC52AFC-7CBA-46F3-B8BB-A3D2BE2F9F16}"/>
              </a:ext>
            </a:extLst>
          </p:cNvPr>
          <p:cNvSpPr/>
          <p:nvPr/>
        </p:nvSpPr>
        <p:spPr>
          <a:xfrm>
            <a:off x="3396000" y="729000"/>
            <a:ext cx="5400000" cy="5400000"/>
          </a:xfrm>
          <a:prstGeom prst="ellipse">
            <a:avLst/>
          </a:prstGeom>
          <a:solidFill>
            <a:srgbClr val="A0205D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id="{DD62BE35-B6F2-471E-ADDB-A6311FE49478}"/>
              </a:ext>
            </a:extLst>
          </p:cNvPr>
          <p:cNvSpPr/>
          <p:nvPr/>
        </p:nvSpPr>
        <p:spPr>
          <a:xfrm>
            <a:off x="5237770" y="729000"/>
            <a:ext cx="5400000" cy="5400000"/>
          </a:xfrm>
          <a:prstGeom prst="ellipse">
            <a:avLst/>
          </a:prstGeom>
          <a:solidFill>
            <a:srgbClr val="A0205D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B297F5A3-163D-43EF-B0C8-05A3D440C2BD}"/>
              </a:ext>
            </a:extLst>
          </p:cNvPr>
          <p:cNvSpPr/>
          <p:nvPr/>
        </p:nvSpPr>
        <p:spPr>
          <a:xfrm>
            <a:off x="1554230" y="729000"/>
            <a:ext cx="5400000" cy="5400000"/>
          </a:xfrm>
          <a:prstGeom prst="ellipse">
            <a:avLst/>
          </a:prstGeom>
          <a:solidFill>
            <a:srgbClr val="A0205D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04CB144-5DD3-43CE-B8A0-9676BBED4B39}"/>
              </a:ext>
            </a:extLst>
          </p:cNvPr>
          <p:cNvSpPr/>
          <p:nvPr/>
        </p:nvSpPr>
        <p:spPr>
          <a:xfrm>
            <a:off x="-179109" y="2809164"/>
            <a:ext cx="12594210" cy="10509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4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HANKS FOR YOUR ATTENTION</a:t>
            </a:r>
            <a:endParaRPr lang="fr-FR" sz="48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06984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Une image contenant carte&#10;&#10;Description générée automatiquement">
            <a:extLst>
              <a:ext uri="{FF2B5EF4-FFF2-40B4-BE49-F238E27FC236}">
                <a16:creationId xmlns:a16="http://schemas.microsoft.com/office/drawing/2014/main" id="{5004F3BD-F35B-4474-BF92-80350E8988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3504" y="734014"/>
            <a:ext cx="10473594" cy="6120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64D7D40B-583B-4118-A3CC-05F1A8149B4C}"/>
              </a:ext>
            </a:extLst>
          </p:cNvPr>
          <p:cNvSpPr/>
          <p:nvPr/>
        </p:nvSpPr>
        <p:spPr>
          <a:xfrm rot="16200000">
            <a:off x="2054089" y="5833105"/>
            <a:ext cx="1520889" cy="11776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C9A85A3-E950-4EA0-8A27-0EA5B8567E90}"/>
              </a:ext>
            </a:extLst>
          </p:cNvPr>
          <p:cNvSpPr/>
          <p:nvPr/>
        </p:nvSpPr>
        <p:spPr>
          <a:xfrm>
            <a:off x="1588655" y="4830618"/>
            <a:ext cx="4017818" cy="1507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4CE281A-4452-4919-A2E6-D7A276B866A0}"/>
              </a:ext>
            </a:extLst>
          </p:cNvPr>
          <p:cNvSpPr/>
          <p:nvPr/>
        </p:nvSpPr>
        <p:spPr>
          <a:xfrm rot="16200000">
            <a:off x="10576245" y="5761973"/>
            <a:ext cx="1682714" cy="9983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0" name="Titre 1">
            <a:extLst>
              <a:ext uri="{FF2B5EF4-FFF2-40B4-BE49-F238E27FC236}">
                <a16:creationId xmlns:a16="http://schemas.microsoft.com/office/drawing/2014/main" id="{E1A92823-032F-4901-864B-2E943BF68610}"/>
              </a:ext>
            </a:extLst>
          </p:cNvPr>
          <p:cNvSpPr txBox="1">
            <a:spLocks/>
          </p:cNvSpPr>
          <p:nvPr/>
        </p:nvSpPr>
        <p:spPr>
          <a:xfrm>
            <a:off x="0" y="-186977"/>
            <a:ext cx="9439304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5200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EMBERSHIP</a:t>
            </a:r>
            <a:r>
              <a:rPr lang="fr-FR" sz="520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fr-FR" sz="520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D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EEDC731-5ED0-4216-8884-50B21E909B13}"/>
              </a:ext>
            </a:extLst>
          </p:cNvPr>
          <p:cNvSpPr/>
          <p:nvPr/>
        </p:nvSpPr>
        <p:spPr>
          <a:xfrm rot="16200000">
            <a:off x="4570222" y="2938014"/>
            <a:ext cx="888947" cy="69949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5AA7E92B-4778-476F-965C-993AC5F48229}"/>
              </a:ext>
            </a:extLst>
          </p:cNvPr>
          <p:cNvSpPr txBox="1"/>
          <p:nvPr/>
        </p:nvSpPr>
        <p:spPr>
          <a:xfrm>
            <a:off x="130240" y="5688559"/>
            <a:ext cx="827626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dirty="0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ocal public </a:t>
            </a:r>
            <a:r>
              <a:rPr lang="fr-FR" sz="2000" dirty="0" err="1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uthority</a:t>
            </a:r>
            <a:r>
              <a:rPr lang="fr-FR" sz="2000" dirty="0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fr-FR" sz="2000" dirty="0" err="1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having</a:t>
            </a:r>
            <a:r>
              <a:rPr lang="fr-FR" sz="2000" dirty="0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fr-FR" sz="2000" dirty="0" err="1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joined</a:t>
            </a:r>
            <a:r>
              <a:rPr lang="fr-FR" sz="2000" dirty="0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fr-FR" sz="2000" dirty="0" err="1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noWatt</a:t>
            </a:r>
            <a:r>
              <a:rPr lang="fr-FR" sz="2000" dirty="0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: 113</a:t>
            </a:r>
            <a:br>
              <a:rPr lang="fr-FR" sz="20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2000" dirty="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ocal public authority  wishing to participate in </a:t>
            </a:r>
            <a:r>
              <a:rPr lang="en-US" sz="2000" dirty="0" err="1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noWatt</a:t>
            </a:r>
            <a:r>
              <a:rPr lang="en-US" sz="2000" dirty="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fr-FR" sz="2000" dirty="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: 52</a:t>
            </a:r>
            <a:br>
              <a:rPr lang="fr-FR" sz="20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fr-FR" sz="2000" dirty="0">
                <a:solidFill>
                  <a:srgbClr val="E7BA05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ocal public </a:t>
            </a:r>
            <a:r>
              <a:rPr lang="fr-FR" sz="2000" dirty="0" err="1">
                <a:solidFill>
                  <a:srgbClr val="E7BA05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uthority</a:t>
            </a:r>
            <a:r>
              <a:rPr lang="fr-FR" sz="2000" dirty="0">
                <a:solidFill>
                  <a:srgbClr val="E7BA05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running (pilot phase 2014-2017)</a:t>
            </a:r>
            <a:endParaRPr lang="fr-BE" sz="2000" dirty="0">
              <a:solidFill>
                <a:srgbClr val="E7BA05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CAC1688-85DF-4A36-9E13-AF43D5363884}"/>
              </a:ext>
            </a:extLst>
          </p:cNvPr>
          <p:cNvSpPr/>
          <p:nvPr/>
        </p:nvSpPr>
        <p:spPr>
          <a:xfrm rot="16200000">
            <a:off x="7962035" y="6345795"/>
            <a:ext cx="888947" cy="18343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2" name="Espace réservé du numéro de diapositive 1">
            <a:extLst>
              <a:ext uri="{FF2B5EF4-FFF2-40B4-BE49-F238E27FC236}">
                <a16:creationId xmlns:a16="http://schemas.microsoft.com/office/drawing/2014/main" id="{477B601E-4A3F-4A62-9F6A-778D1F4A00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545476"/>
            <a:ext cx="2743200" cy="365125"/>
          </a:xfrm>
        </p:spPr>
        <p:txBody>
          <a:bodyPr/>
          <a:lstStyle/>
          <a:p>
            <a:fld id="{0A782538-02AD-4D54-ABDF-1108B5987306}" type="slidenum">
              <a:rPr lang="fr-BE" smtClean="0"/>
              <a:t>4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799960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Ellipse 34">
            <a:extLst>
              <a:ext uri="{FF2B5EF4-FFF2-40B4-BE49-F238E27FC236}">
                <a16:creationId xmlns:a16="http://schemas.microsoft.com/office/drawing/2014/main" id="{5C52CBE7-1AFF-4EF2-98FC-49780E4A3F6F}"/>
              </a:ext>
            </a:extLst>
          </p:cNvPr>
          <p:cNvSpPr/>
          <p:nvPr/>
        </p:nvSpPr>
        <p:spPr>
          <a:xfrm>
            <a:off x="3396000" y="1111173"/>
            <a:ext cx="5400000" cy="5400000"/>
          </a:xfrm>
          <a:prstGeom prst="ellipse">
            <a:avLst/>
          </a:prstGeom>
          <a:solidFill>
            <a:srgbClr val="00407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" name="Titre 1">
            <a:extLst>
              <a:ext uri="{FF2B5EF4-FFF2-40B4-BE49-F238E27FC236}">
                <a16:creationId xmlns:a16="http://schemas.microsoft.com/office/drawing/2014/main" id="{87244BDE-9DEC-4640-B15E-0D9835EE4E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256779"/>
          </a:xfrm>
        </p:spPr>
        <p:txBody>
          <a:bodyPr>
            <a:noAutofit/>
          </a:bodyPr>
          <a:lstStyle/>
          <a:p>
            <a:pPr algn="ctr"/>
            <a:r>
              <a:rPr lang="en-US" sz="600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BJECTIVES</a:t>
            </a:r>
          </a:p>
        </p:txBody>
      </p:sp>
      <p:sp>
        <p:nvSpPr>
          <p:cNvPr id="36" name="Ellipse 35">
            <a:extLst>
              <a:ext uri="{FF2B5EF4-FFF2-40B4-BE49-F238E27FC236}">
                <a16:creationId xmlns:a16="http://schemas.microsoft.com/office/drawing/2014/main" id="{5F1705FD-39B4-4D85-85DE-1FACE763DA9D}"/>
              </a:ext>
            </a:extLst>
          </p:cNvPr>
          <p:cNvSpPr/>
          <p:nvPr/>
        </p:nvSpPr>
        <p:spPr>
          <a:xfrm>
            <a:off x="3756000" y="1471173"/>
            <a:ext cx="4680000" cy="4680000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rgbClr val="A0205D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51E501E-5C3C-4B2B-8303-34D0CE78877F}"/>
              </a:ext>
            </a:extLst>
          </p:cNvPr>
          <p:cNvSpPr/>
          <p:nvPr/>
        </p:nvSpPr>
        <p:spPr>
          <a:xfrm>
            <a:off x="4643022" y="2079682"/>
            <a:ext cx="288524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BJECTIVE 2030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A885C4E-D4AD-49A4-900D-510BDF85FC41}"/>
              </a:ext>
            </a:extLst>
          </p:cNvPr>
          <p:cNvSpPr/>
          <p:nvPr/>
        </p:nvSpPr>
        <p:spPr>
          <a:xfrm>
            <a:off x="4186041" y="2763950"/>
            <a:ext cx="381991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55% </a:t>
            </a:r>
            <a:r>
              <a:rPr lang="en-US" sz="200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duction in CO2 emissions vs 1990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990A6C8-720D-4A88-9E95-0EB7A42C10C3}"/>
              </a:ext>
            </a:extLst>
          </p:cNvPr>
          <p:cNvSpPr/>
          <p:nvPr/>
        </p:nvSpPr>
        <p:spPr>
          <a:xfrm>
            <a:off x="4643022" y="5281723"/>
            <a:ext cx="288524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>
                <a:solidFill>
                  <a:srgbClr val="A0205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BJECTIVE 2050</a:t>
            </a:r>
          </a:p>
        </p:txBody>
      </p:sp>
      <p:pic>
        <p:nvPicPr>
          <p:cNvPr id="37" name="Picture 14" descr="A person sitting on a bench in front of a brick building&#10;&#10;Description automatically generated">
            <a:extLst>
              <a:ext uri="{FF2B5EF4-FFF2-40B4-BE49-F238E27FC236}">
                <a16:creationId xmlns:a16="http://schemas.microsoft.com/office/drawing/2014/main" id="{6D618919-7DC4-4A56-A0A0-695BD90243A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3854" y="4294590"/>
            <a:ext cx="3054771" cy="18576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BA0FF3F5-9213-4A1B-B7AF-AAA1FA269CA5}"/>
              </a:ext>
            </a:extLst>
          </p:cNvPr>
          <p:cNvSpPr/>
          <p:nvPr/>
        </p:nvSpPr>
        <p:spPr>
          <a:xfrm>
            <a:off x="3847155" y="4290610"/>
            <a:ext cx="449769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rbon neutral</a:t>
            </a:r>
            <a:endParaRPr lang="en-US" sz="1200" b="1">
              <a:solidFill>
                <a:srgbClr val="01407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38" name="Picture 7" descr="A picture containing building, outdoor, sky, boat&#10;&#10;Description automatically generated">
            <a:extLst>
              <a:ext uri="{FF2B5EF4-FFF2-40B4-BE49-F238E27FC236}">
                <a16:creationId xmlns:a16="http://schemas.microsoft.com/office/drawing/2014/main" id="{7A5301FC-917C-4F0A-9E3C-2EAF8AB9208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082" y="4306262"/>
            <a:ext cx="3055064" cy="185631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40" name="Picture 4" descr="A picture containing sky, solar cell, outdoor, road&#10;&#10;Description automatically generated">
            <a:extLst>
              <a:ext uri="{FF2B5EF4-FFF2-40B4-BE49-F238E27FC236}">
                <a16:creationId xmlns:a16="http://schemas.microsoft.com/office/drawing/2014/main" id="{2512A327-D356-4D57-8ED3-5D5CB536D77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5347" y="1256780"/>
            <a:ext cx="3056400" cy="225464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42" name="Picture 2" descr="A sign in front of a building&#10;&#10;Description automatically generated">
            <a:extLst>
              <a:ext uri="{FF2B5EF4-FFF2-40B4-BE49-F238E27FC236}">
                <a16:creationId xmlns:a16="http://schemas.microsoft.com/office/drawing/2014/main" id="{0623F0C2-5898-45B8-8B35-CCE9D671657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363" y="1298344"/>
            <a:ext cx="3055064" cy="229129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7E4FA28F-91A2-4EBB-B78A-BD9CF4D56A99}"/>
              </a:ext>
            </a:extLst>
          </p:cNvPr>
          <p:cNvCxnSpPr>
            <a:cxnSpLocks/>
          </p:cNvCxnSpPr>
          <p:nvPr/>
        </p:nvCxnSpPr>
        <p:spPr>
          <a:xfrm>
            <a:off x="4064031" y="3895150"/>
            <a:ext cx="4063939" cy="0"/>
          </a:xfrm>
          <a:prstGeom prst="line">
            <a:avLst/>
          </a:prstGeom>
          <a:ln w="9525">
            <a:solidFill>
              <a:srgbClr val="A0205D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Espace réservé du numéro de diapositive 1">
            <a:extLst>
              <a:ext uri="{FF2B5EF4-FFF2-40B4-BE49-F238E27FC236}">
                <a16:creationId xmlns:a16="http://schemas.microsoft.com/office/drawing/2014/main" id="{DFA51376-4F28-4A89-8444-AAFF7B3963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545476"/>
            <a:ext cx="2743200" cy="365125"/>
          </a:xfrm>
        </p:spPr>
        <p:txBody>
          <a:bodyPr/>
          <a:lstStyle/>
          <a:p>
            <a:fld id="{0A782538-02AD-4D54-ABDF-1108B598730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73348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age 22">
            <a:extLst>
              <a:ext uri="{FF2B5EF4-FFF2-40B4-BE49-F238E27FC236}">
                <a16:creationId xmlns:a16="http://schemas.microsoft.com/office/drawing/2014/main" id="{6933C1F4-34A0-4333-9272-70E8233FA5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768" y="1189147"/>
            <a:ext cx="1206461" cy="540000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FA8269E7-E4A1-4DFE-850F-63C75FBE74A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1442" y="70854"/>
            <a:ext cx="1466390" cy="1440000"/>
          </a:xfrm>
          <a:prstGeom prst="rect">
            <a:avLst/>
          </a:prstGeom>
        </p:spPr>
      </p:pic>
      <p:sp>
        <p:nvSpPr>
          <p:cNvPr id="12" name="Espace réservé du numéro de diapositive 1">
            <a:extLst>
              <a:ext uri="{FF2B5EF4-FFF2-40B4-BE49-F238E27FC236}">
                <a16:creationId xmlns:a16="http://schemas.microsoft.com/office/drawing/2014/main" id="{7F573497-F2E9-4E7A-AE64-1228B54AE4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545476"/>
            <a:ext cx="2743200" cy="365125"/>
          </a:xfrm>
        </p:spPr>
        <p:txBody>
          <a:bodyPr/>
          <a:lstStyle/>
          <a:p>
            <a:fld id="{0A782538-02AD-4D54-ABDF-1108B5987306}" type="slidenum">
              <a:rPr lang="en-US" smtClean="0"/>
              <a:t>6</a:t>
            </a:fld>
            <a:endParaRPr lang="en-US"/>
          </a:p>
        </p:txBody>
      </p:sp>
      <p:graphicFrame>
        <p:nvGraphicFramePr>
          <p:cNvPr id="14" name="Table 2">
            <a:extLst>
              <a:ext uri="{FF2B5EF4-FFF2-40B4-BE49-F238E27FC236}">
                <a16:creationId xmlns:a16="http://schemas.microsoft.com/office/drawing/2014/main" id="{69D72ECC-A97E-4460-AFF8-87A5BDF4D9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8798202"/>
              </p:ext>
            </p:extLst>
          </p:nvPr>
        </p:nvGraphicFramePr>
        <p:xfrm>
          <a:off x="628453" y="1688934"/>
          <a:ext cx="10935093" cy="50103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450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4503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6450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50370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rgbClr val="003E74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Description </a:t>
                      </a:r>
                    </a:p>
                  </a:txBody>
                  <a:tcPr marL="82953" marR="82953" marT="41476" marB="41476" anchor="ctr">
                    <a:lnL w="28575" cap="flat" cmpd="sng" algn="ctr">
                      <a:solidFill>
                        <a:srgbClr val="003E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rgbClr val="003E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3E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003E74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ELENA</a:t>
                      </a:r>
                      <a:r>
                        <a:rPr lang="en-US" sz="1400" baseline="0" dirty="0">
                          <a:solidFill>
                            <a:srgbClr val="003E74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EIB – INITIAL GOALS</a:t>
                      </a:r>
                      <a:endParaRPr lang="en-US" sz="1400" dirty="0">
                        <a:solidFill>
                          <a:srgbClr val="003E74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82953" marR="82953" marT="41476" marB="41476" anchor="ctr">
                    <a:lnT w="28575" cap="flat" cmpd="sng" algn="ctr">
                      <a:solidFill>
                        <a:srgbClr val="003E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3E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rgbClr val="003E74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👍 RENOWATT RESULTS 👍</a:t>
                      </a:r>
                    </a:p>
                  </a:txBody>
                  <a:tcPr marL="82953" marR="82953" marT="41476" marB="41476" anchor="ctr">
                    <a:lnR w="28575" cap="flat" cmpd="sng" algn="ctr">
                      <a:solidFill>
                        <a:srgbClr val="003E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3E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3E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2831">
                <a:tc>
                  <a:txBody>
                    <a:bodyPr/>
                    <a:lstStyle/>
                    <a:p>
                      <a:pPr algn="ctr"/>
                      <a:r>
                        <a:rPr lang="en-US" sz="1500" b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Investments </a:t>
                      </a:r>
                    </a:p>
                    <a:p>
                      <a:pPr algn="ctr"/>
                      <a:r>
                        <a:rPr lang="en-US" sz="1400" b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(million Euros)</a:t>
                      </a:r>
                    </a:p>
                  </a:txBody>
                  <a:tcPr marL="82953" marR="82953" marT="41476" marB="41476" anchor="ctr">
                    <a:lnT w="28575" cap="flat" cmpd="sng" algn="ctr">
                      <a:solidFill>
                        <a:srgbClr val="003E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3E7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Min 70</a:t>
                      </a:r>
                      <a:r>
                        <a:rPr lang="en-US" sz="1700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</a:t>
                      </a:r>
                    </a:p>
                    <a:p>
                      <a:pPr algn="ctr"/>
                      <a:r>
                        <a:rPr lang="en-US" sz="1700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(optimal 104)</a:t>
                      </a:r>
                      <a:endParaRPr lang="en-US" sz="170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82953" marR="82953" marT="41476" marB="41476" anchor="ctr">
                    <a:lnT w="28575" cap="flat" cmpd="sng" algn="ctr">
                      <a:solidFill>
                        <a:srgbClr val="003E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9D1E5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76 – 225 </a:t>
                      </a:r>
                    </a:p>
                  </a:txBody>
                  <a:tcPr marL="82953" marR="82953" marT="41476" marB="41476" anchor="ctr">
                    <a:lnT w="28575" cap="flat" cmpd="sng" algn="ctr">
                      <a:solidFill>
                        <a:srgbClr val="003E7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9D1E5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65306">
                <a:tc>
                  <a:txBody>
                    <a:bodyPr/>
                    <a:lstStyle/>
                    <a:p>
                      <a:pPr algn="ctr"/>
                      <a:r>
                        <a:rPr lang="en-US" sz="1500" b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Leverage factor</a:t>
                      </a:r>
                    </a:p>
                  </a:txBody>
                  <a:tcPr marL="82953" marR="82953" marT="41476" marB="41476" anchor="ctr">
                    <a:solidFill>
                      <a:srgbClr val="003E7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</a:t>
                      </a:r>
                    </a:p>
                  </a:txBody>
                  <a:tcPr marL="82953" marR="82953" marT="41476" marB="41476" anchor="ctr">
                    <a:solidFill>
                      <a:srgbClr val="9D1E5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50 - 64</a:t>
                      </a:r>
                    </a:p>
                  </a:txBody>
                  <a:tcPr marL="82953" marR="82953" marT="41476" marB="41476" anchor="ctr">
                    <a:solidFill>
                      <a:srgbClr val="9D1E5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65306">
                <a:tc>
                  <a:txBody>
                    <a:bodyPr/>
                    <a:lstStyle/>
                    <a:p>
                      <a:pPr algn="ctr"/>
                      <a:r>
                        <a:rPr lang="en-US" sz="1500" b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Number </a:t>
                      </a:r>
                      <a:r>
                        <a:rPr lang="en-US" sz="1500" b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of local public authorities</a:t>
                      </a:r>
                    </a:p>
                  </a:txBody>
                  <a:tcPr marL="82953" marR="82953" marT="41476" marB="41476" anchor="ctr">
                    <a:solidFill>
                      <a:srgbClr val="003E7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Clr>
                          <a:schemeClr val="accent4"/>
                        </a:buClr>
                        <a:buFont typeface="Wingdings" charset="2"/>
                        <a:buNone/>
                      </a:pPr>
                      <a:r>
                        <a:rPr lang="en-US" sz="17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0 – 50 </a:t>
                      </a:r>
                    </a:p>
                  </a:txBody>
                  <a:tcPr marL="82953" marR="82953" marT="41476" marB="41476" anchor="ctr">
                    <a:solidFill>
                      <a:srgbClr val="9D1E5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Clr>
                          <a:schemeClr val="accent4"/>
                        </a:buClr>
                        <a:buFont typeface="Wingdings" charset="2"/>
                        <a:buNone/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13</a:t>
                      </a:r>
                    </a:p>
                  </a:txBody>
                  <a:tcPr marL="82953" marR="82953" marT="41476" marB="41476" anchor="ctr">
                    <a:solidFill>
                      <a:srgbClr val="9D1E5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65306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FR" sz="1500" b="0" kern="120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Energy savings</a:t>
                      </a:r>
                    </a:p>
                  </a:txBody>
                  <a:tcPr marL="82953" marR="82953" marT="41476" marB="41476" anchor="ctr">
                    <a:solidFill>
                      <a:srgbClr val="003E7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Clr>
                          <a:schemeClr val="accent4"/>
                        </a:buClr>
                        <a:buFont typeface="Wingdings" charset="2"/>
                        <a:buNone/>
                      </a:pPr>
                      <a:r>
                        <a:rPr lang="en-US" sz="17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53 </a:t>
                      </a:r>
                      <a:r>
                        <a:rPr lang="fr-FR" sz="1700" b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GWh</a:t>
                      </a:r>
                      <a:endParaRPr lang="en-US" sz="1700" b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82953" marR="82953" marT="41476" marB="41476" anchor="ctr">
                    <a:solidFill>
                      <a:srgbClr val="9D1E5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Wingdings" charset="2"/>
                        <a:buNone/>
                        <a:tabLst/>
                        <a:defRPr/>
                      </a:pPr>
                      <a:r>
                        <a:rPr lang="fr-FR" sz="1800" b="1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59 GWh </a:t>
                      </a:r>
                    </a:p>
                  </a:txBody>
                  <a:tcPr marL="82953" marR="82953" marT="41476" marB="41476" anchor="ctr">
                    <a:solidFill>
                      <a:srgbClr val="9D1E5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65306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FR" sz="1500" b="0" kern="120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Renewable energy production</a:t>
                      </a:r>
                    </a:p>
                  </a:txBody>
                  <a:tcPr marL="82953" marR="82953" marT="41476" marB="41476" anchor="ctr">
                    <a:solidFill>
                      <a:srgbClr val="003E7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Clr>
                          <a:schemeClr val="accent4"/>
                        </a:buClr>
                        <a:buFont typeface="Wingdings" charset="2"/>
                        <a:buNone/>
                      </a:pPr>
                      <a:r>
                        <a:rPr lang="en-US" sz="1700" b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,15 GWh</a:t>
                      </a:r>
                    </a:p>
                  </a:txBody>
                  <a:tcPr marL="82953" marR="82953" marT="41476" marB="41476" anchor="ctr">
                    <a:solidFill>
                      <a:srgbClr val="9D1E5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Tx/>
                        <a:buFont typeface="Wingdings" charset="2"/>
                        <a:buNone/>
                        <a:tabLst/>
                        <a:defRPr/>
                      </a:pPr>
                      <a:r>
                        <a:rPr lang="fr-FR" sz="1800" b="1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,38 GWh</a:t>
                      </a:r>
                    </a:p>
                  </a:txBody>
                  <a:tcPr marL="82953" marR="82953" marT="41476" marB="41476" anchor="ctr">
                    <a:solidFill>
                      <a:srgbClr val="9D1E5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0565855"/>
                  </a:ext>
                </a:extLst>
              </a:tr>
              <a:tr h="565306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FR" sz="1500" b="0" kern="120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CO2 emmision reduction </a:t>
                      </a:r>
                    </a:p>
                  </a:txBody>
                  <a:tcPr marL="82953" marR="82953" marT="41476" marB="41476" anchor="ctr">
                    <a:solidFill>
                      <a:srgbClr val="003E7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5 600 t CO2</a:t>
                      </a:r>
                    </a:p>
                  </a:txBody>
                  <a:tcPr marL="82953" marR="82953" marT="41476" marB="41476" anchor="ctr">
                    <a:solidFill>
                      <a:srgbClr val="9D1E5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7 000 t CO2</a:t>
                      </a:r>
                      <a:endParaRPr lang="en-US" sz="1800" b="1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82953" marR="82953" marT="41476" marB="41476" anchor="ctr">
                    <a:solidFill>
                      <a:srgbClr val="9D1E5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65306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FR" sz="1500" b="0" kern="120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Heated surface to renovate </a:t>
                      </a:r>
                    </a:p>
                  </a:txBody>
                  <a:tcPr marL="82953" marR="82953" marT="41476" marB="41476" anchor="ctr">
                    <a:solidFill>
                      <a:srgbClr val="003E7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650 000 m²</a:t>
                      </a:r>
                    </a:p>
                  </a:txBody>
                  <a:tcPr marL="82953" marR="82953" marT="41476" marB="41476" anchor="ctr">
                    <a:solidFill>
                      <a:srgbClr val="9D1E5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b="1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785 000 m²</a:t>
                      </a:r>
                      <a:endParaRPr lang="en-US" sz="1800" b="1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82953" marR="82953" marT="41476" marB="41476" anchor="ctr">
                    <a:solidFill>
                      <a:srgbClr val="9D1E5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4167168"/>
                  </a:ext>
                </a:extLst>
              </a:tr>
              <a:tr h="565306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FR" sz="1500" b="0" kern="120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Training hours </a:t>
                      </a:r>
                    </a:p>
                  </a:txBody>
                  <a:tcPr marL="82953" marR="82953" marT="41476" marB="41476" anchor="ctr">
                    <a:solidFill>
                      <a:srgbClr val="003E7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7 000</a:t>
                      </a:r>
                    </a:p>
                  </a:txBody>
                  <a:tcPr marL="82953" marR="82953" marT="41476" marB="41476" anchor="ctr">
                    <a:solidFill>
                      <a:srgbClr val="9D1E5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52 000</a:t>
                      </a:r>
                    </a:p>
                  </a:txBody>
                  <a:tcPr marL="82953" marR="82953" marT="41476" marB="41476" anchor="ctr">
                    <a:solidFill>
                      <a:srgbClr val="9D1E5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6298375"/>
                  </a:ext>
                </a:extLst>
              </a:tr>
            </a:tbl>
          </a:graphicData>
        </a:graphic>
      </p:graphicFrame>
      <p:sp>
        <p:nvSpPr>
          <p:cNvPr id="21" name="Titre 1">
            <a:extLst>
              <a:ext uri="{FF2B5EF4-FFF2-40B4-BE49-F238E27FC236}">
                <a16:creationId xmlns:a16="http://schemas.microsoft.com/office/drawing/2014/main" id="{72DB4C6D-69F9-4DAC-B190-C4017F83858A}"/>
              </a:ext>
            </a:extLst>
          </p:cNvPr>
          <p:cNvSpPr txBox="1">
            <a:spLocks/>
          </p:cNvSpPr>
          <p:nvPr/>
        </p:nvSpPr>
        <p:spPr>
          <a:xfrm>
            <a:off x="275208" y="0"/>
            <a:ext cx="9428086" cy="13365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10000"/>
              </a:lnSpc>
            </a:pPr>
            <a:r>
              <a:rPr lang="en-US" sz="5400" dirty="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</a:t>
            </a:r>
            <a:r>
              <a:rPr lang="en-US" sz="5400" dirty="0">
                <a:solidFill>
                  <a:srgbClr val="003E7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nergy renovation </a:t>
            </a:r>
            <a:r>
              <a:rPr lang="en-US" sz="5400" dirty="0">
                <a:solidFill>
                  <a:srgbClr val="9D1E5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y</a:t>
            </a:r>
          </a:p>
        </p:txBody>
      </p:sp>
    </p:spTree>
    <p:extLst>
      <p:ext uri="{BB962C8B-B14F-4D97-AF65-F5344CB8AC3E}">
        <p14:creationId xmlns:p14="http://schemas.microsoft.com/office/powerpoint/2010/main" val="38890163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Graphique 6">
            <a:extLst>
              <a:ext uri="{FF2B5EF4-FFF2-40B4-BE49-F238E27FC236}">
                <a16:creationId xmlns:a16="http://schemas.microsoft.com/office/drawing/2014/main" id="{C775386E-F1E6-407F-9093-5F5039291173}"/>
              </a:ext>
            </a:extLst>
          </p:cNvPr>
          <p:cNvGraphicFramePr>
            <a:graphicFrameLocks/>
          </p:cNvGraphicFramePr>
          <p:nvPr/>
        </p:nvGraphicFramePr>
        <p:xfrm>
          <a:off x="0" y="798988"/>
          <a:ext cx="12191999" cy="63939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itre 1">
            <a:extLst>
              <a:ext uri="{FF2B5EF4-FFF2-40B4-BE49-F238E27FC236}">
                <a16:creationId xmlns:a16="http://schemas.microsoft.com/office/drawing/2014/main" id="{E019E473-1212-471F-B12A-F9B7D610AFC6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10353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fr-BE" sz="5200">
                <a:solidFill>
                  <a:srgbClr val="98216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NOVATION WORK </a:t>
            </a:r>
            <a:r>
              <a:rPr lang="fr-BE" sz="5200">
                <a:solidFill>
                  <a:srgbClr val="01407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REAKDOWN</a:t>
            </a:r>
            <a:endParaRPr lang="fr-BE" sz="5200">
              <a:solidFill>
                <a:srgbClr val="982167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Espace réservé du numéro de diapositive 1">
            <a:extLst>
              <a:ext uri="{FF2B5EF4-FFF2-40B4-BE49-F238E27FC236}">
                <a16:creationId xmlns:a16="http://schemas.microsoft.com/office/drawing/2014/main" id="{2426A616-1E51-4B10-BCAD-CB758C1E12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71302"/>
            <a:ext cx="2743200" cy="365125"/>
          </a:xfrm>
        </p:spPr>
        <p:txBody>
          <a:bodyPr/>
          <a:lstStyle/>
          <a:p>
            <a:fld id="{0A782538-02AD-4D54-ABDF-1108B5987306}" type="slidenum">
              <a:rPr lang="fr-BE" smtClean="0"/>
              <a:t>7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2366506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0571186B-66AA-4347-A924-32F3CCAB933E}"/>
              </a:ext>
            </a:extLst>
          </p:cNvPr>
          <p:cNvSpPr/>
          <p:nvPr/>
        </p:nvSpPr>
        <p:spPr>
          <a:xfrm>
            <a:off x="-179109" y="-75414"/>
            <a:ext cx="12594210" cy="7343480"/>
          </a:xfrm>
          <a:prstGeom prst="rect">
            <a:avLst/>
          </a:prstGeom>
          <a:solidFill>
            <a:srgbClr val="01407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85B3D98B-8160-4FAD-9334-2F1CDA8786EB}"/>
              </a:ext>
            </a:extLst>
          </p:cNvPr>
          <p:cNvSpPr/>
          <p:nvPr/>
        </p:nvSpPr>
        <p:spPr>
          <a:xfrm>
            <a:off x="8166675" y="2163375"/>
            <a:ext cx="3960000" cy="3960000"/>
          </a:xfrm>
          <a:prstGeom prst="ellipse">
            <a:avLst/>
          </a:prstGeom>
          <a:solidFill>
            <a:srgbClr val="A0205D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02DB318A-D26F-475D-9FD3-19C3CD16A13C}"/>
              </a:ext>
            </a:extLst>
          </p:cNvPr>
          <p:cNvSpPr/>
          <p:nvPr/>
        </p:nvSpPr>
        <p:spPr>
          <a:xfrm>
            <a:off x="4926675" y="2163375"/>
            <a:ext cx="3960000" cy="3960000"/>
          </a:xfrm>
          <a:prstGeom prst="ellipse">
            <a:avLst/>
          </a:prstGeom>
          <a:solidFill>
            <a:srgbClr val="A0205D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id="{0EC52AFC-7CBA-46F3-B8BB-A3D2BE2F9F16}"/>
              </a:ext>
            </a:extLst>
          </p:cNvPr>
          <p:cNvSpPr/>
          <p:nvPr/>
        </p:nvSpPr>
        <p:spPr>
          <a:xfrm>
            <a:off x="1686675" y="2163375"/>
            <a:ext cx="3960000" cy="3960000"/>
          </a:xfrm>
          <a:prstGeom prst="ellipse">
            <a:avLst/>
          </a:prstGeom>
          <a:solidFill>
            <a:srgbClr val="A0205D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DDB66ACF-7C45-4A65-946D-AE12A9384959}"/>
              </a:ext>
            </a:extLst>
          </p:cNvPr>
          <p:cNvSpPr/>
          <p:nvPr/>
        </p:nvSpPr>
        <p:spPr>
          <a:xfrm>
            <a:off x="3306675" y="2163375"/>
            <a:ext cx="3960000" cy="3960000"/>
          </a:xfrm>
          <a:prstGeom prst="ellipse">
            <a:avLst/>
          </a:prstGeom>
          <a:solidFill>
            <a:srgbClr val="A0205D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86A2524B-1788-4158-94EF-A70CD68E93D4}"/>
              </a:ext>
            </a:extLst>
          </p:cNvPr>
          <p:cNvSpPr/>
          <p:nvPr/>
        </p:nvSpPr>
        <p:spPr>
          <a:xfrm>
            <a:off x="6546675" y="2163375"/>
            <a:ext cx="3960000" cy="3960000"/>
          </a:xfrm>
          <a:prstGeom prst="ellipse">
            <a:avLst/>
          </a:prstGeom>
          <a:solidFill>
            <a:srgbClr val="A0205D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B297F5A3-163D-43EF-B0C8-05A3D440C2BD}"/>
              </a:ext>
            </a:extLst>
          </p:cNvPr>
          <p:cNvSpPr/>
          <p:nvPr/>
        </p:nvSpPr>
        <p:spPr>
          <a:xfrm>
            <a:off x="66675" y="2163375"/>
            <a:ext cx="3960000" cy="3960000"/>
          </a:xfrm>
          <a:prstGeom prst="ellipse">
            <a:avLst/>
          </a:prstGeom>
          <a:solidFill>
            <a:srgbClr val="A0205D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7EA6E66-D401-4A1A-BB1E-D1EE3D23B4BF}"/>
              </a:ext>
            </a:extLst>
          </p:cNvPr>
          <p:cNvSpPr/>
          <p:nvPr/>
        </p:nvSpPr>
        <p:spPr>
          <a:xfrm>
            <a:off x="2440134" y="2743700"/>
            <a:ext cx="2458260" cy="18892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TEP 2</a:t>
            </a:r>
          </a:p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algn="ctr">
              <a:lnSpc>
                <a:spcPct val="150000"/>
              </a:lnSpc>
            </a:pPr>
            <a:r>
              <a:rPr lang="en-US" sz="1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uildings’ selection based on detailed data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BCAD4BE-96B8-4ED0-960E-E3F4510A80D8}"/>
              </a:ext>
            </a:extLst>
          </p:cNvPr>
          <p:cNvSpPr/>
          <p:nvPr/>
        </p:nvSpPr>
        <p:spPr>
          <a:xfrm>
            <a:off x="7711765" y="2743700"/>
            <a:ext cx="1668114" cy="18892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TEP 5 </a:t>
            </a:r>
          </a:p>
          <a:p>
            <a:pPr algn="ctr">
              <a:lnSpc>
                <a:spcPct val="150000"/>
              </a:lnSpc>
            </a:pPr>
            <a:endParaRPr lang="en-US" sz="16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ctr">
              <a:lnSpc>
                <a:spcPct val="150000"/>
              </a:lnSpc>
            </a:pPr>
            <a:r>
              <a:rPr lang="en-US" sz="1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ustomized solution for each building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6AF5837-2945-4164-9E93-F6466AB34476}"/>
              </a:ext>
            </a:extLst>
          </p:cNvPr>
          <p:cNvSpPr/>
          <p:nvPr/>
        </p:nvSpPr>
        <p:spPr>
          <a:xfrm>
            <a:off x="6207773" y="2739730"/>
            <a:ext cx="1472391" cy="15199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TEP 4 </a:t>
            </a:r>
          </a:p>
          <a:p>
            <a:pPr algn="ctr">
              <a:lnSpc>
                <a:spcPct val="150000"/>
              </a:lnSpc>
            </a:pPr>
            <a:endParaRPr lang="en-US" sz="16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ctr">
              <a:lnSpc>
                <a:spcPct val="150000"/>
              </a:lnSpc>
            </a:pPr>
            <a:r>
              <a:rPr lang="en-US" sz="1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inancial analysi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A2AAE23-52A8-47BC-A9B8-29B67195DDC9}"/>
              </a:ext>
            </a:extLst>
          </p:cNvPr>
          <p:cNvSpPr/>
          <p:nvPr/>
        </p:nvSpPr>
        <p:spPr>
          <a:xfrm>
            <a:off x="4173066" y="2739730"/>
            <a:ext cx="2458260" cy="11505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TEP 3 </a:t>
            </a:r>
          </a:p>
          <a:p>
            <a:pPr algn="ctr">
              <a:lnSpc>
                <a:spcPct val="150000"/>
              </a:lnSpc>
            </a:pPr>
            <a:endParaRPr lang="en-US" sz="16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ctr">
              <a:lnSpc>
                <a:spcPct val="150000"/>
              </a:lnSpc>
            </a:pPr>
            <a:r>
              <a:rPr lang="en-US" sz="16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Quickscan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8160450-2AC9-42BB-9395-77AAB1438493}"/>
              </a:ext>
            </a:extLst>
          </p:cNvPr>
          <p:cNvSpPr/>
          <p:nvPr/>
        </p:nvSpPr>
        <p:spPr>
          <a:xfrm>
            <a:off x="9159599" y="2739730"/>
            <a:ext cx="3127651" cy="11505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TEP 6 </a:t>
            </a:r>
          </a:p>
          <a:p>
            <a:pPr algn="ctr">
              <a:lnSpc>
                <a:spcPct val="150000"/>
              </a:lnSpc>
            </a:pPr>
            <a:endParaRPr lang="en-US" sz="16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ctr">
              <a:lnSpc>
                <a:spcPct val="150000"/>
              </a:lnSpc>
            </a:pPr>
            <a:r>
              <a:rPr lang="en-US" sz="1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aunching Procuremen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04CB144-5DD3-43CE-B8A0-9676BBED4B39}"/>
              </a:ext>
            </a:extLst>
          </p:cNvPr>
          <p:cNvSpPr/>
          <p:nvPr/>
        </p:nvSpPr>
        <p:spPr>
          <a:xfrm>
            <a:off x="169119" y="2743700"/>
            <a:ext cx="2458260" cy="18892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TEP 1</a:t>
            </a:r>
          </a:p>
          <a:p>
            <a:pPr algn="ctr">
              <a:lnSpc>
                <a:spcPct val="150000"/>
              </a:lnSpc>
            </a:pPr>
            <a:r>
              <a:rPr lang="en-US" sz="1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algn="ctr">
              <a:lnSpc>
                <a:spcPct val="150000"/>
              </a:lnSpc>
            </a:pPr>
            <a:r>
              <a:rPr lang="en-US" sz="16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nergy Cadastre</a:t>
            </a:r>
          </a:p>
          <a:p>
            <a:pPr algn="ctr">
              <a:lnSpc>
                <a:spcPct val="150000"/>
              </a:lnSpc>
            </a:pPr>
            <a:r>
              <a:rPr lang="en-US" sz="16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uildings’ selection based on global data</a:t>
            </a:r>
          </a:p>
        </p:txBody>
      </p:sp>
      <p:sp>
        <p:nvSpPr>
          <p:cNvPr id="18" name="Titre 1">
            <a:extLst>
              <a:ext uri="{FF2B5EF4-FFF2-40B4-BE49-F238E27FC236}">
                <a16:creationId xmlns:a16="http://schemas.microsoft.com/office/drawing/2014/main" id="{2F57276D-B5EE-4B3E-BFEC-DEC0772B8BAC}"/>
              </a:ext>
            </a:extLst>
          </p:cNvPr>
          <p:cNvSpPr txBox="1">
            <a:spLocks/>
          </p:cNvSpPr>
          <p:nvPr/>
        </p:nvSpPr>
        <p:spPr>
          <a:xfrm>
            <a:off x="-179109" y="247338"/>
            <a:ext cx="12594210" cy="91775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6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TEPS IN THE PROCESS</a:t>
            </a:r>
          </a:p>
        </p:txBody>
      </p:sp>
    </p:spTree>
    <p:extLst>
      <p:ext uri="{BB962C8B-B14F-4D97-AF65-F5344CB8AC3E}">
        <p14:creationId xmlns:p14="http://schemas.microsoft.com/office/powerpoint/2010/main" val="21889613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ADB2A0B-DAFF-4F1E-ABBE-FB82D1ADBDC2}"/>
              </a:ext>
            </a:extLst>
          </p:cNvPr>
          <p:cNvSpPr/>
          <p:nvPr/>
        </p:nvSpPr>
        <p:spPr>
          <a:xfrm>
            <a:off x="-179109" y="-75414"/>
            <a:ext cx="12594210" cy="7343480"/>
          </a:xfrm>
          <a:prstGeom prst="rect">
            <a:avLst/>
          </a:prstGeom>
          <a:solidFill>
            <a:srgbClr val="01407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id="{0EC52AFC-7CBA-46F3-B8BB-A3D2BE2F9F16}"/>
              </a:ext>
            </a:extLst>
          </p:cNvPr>
          <p:cNvSpPr/>
          <p:nvPr/>
        </p:nvSpPr>
        <p:spPr>
          <a:xfrm>
            <a:off x="4348108" y="729000"/>
            <a:ext cx="5400000" cy="5400000"/>
          </a:xfrm>
          <a:prstGeom prst="ellipse">
            <a:avLst/>
          </a:prstGeom>
          <a:solidFill>
            <a:srgbClr val="A0205D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B297F5A3-163D-43EF-B0C8-05A3D440C2BD}"/>
              </a:ext>
            </a:extLst>
          </p:cNvPr>
          <p:cNvSpPr/>
          <p:nvPr/>
        </p:nvSpPr>
        <p:spPr>
          <a:xfrm>
            <a:off x="2506338" y="729000"/>
            <a:ext cx="5400000" cy="5400000"/>
          </a:xfrm>
          <a:prstGeom prst="ellipse">
            <a:avLst/>
          </a:prstGeom>
          <a:solidFill>
            <a:srgbClr val="A0205D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D665FB2-C699-48AA-8605-58F752CF3ED7}"/>
              </a:ext>
            </a:extLst>
          </p:cNvPr>
          <p:cNvSpPr/>
          <p:nvPr/>
        </p:nvSpPr>
        <p:spPr>
          <a:xfrm>
            <a:off x="6400401" y="2023947"/>
            <a:ext cx="3261674" cy="1876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TEP 2</a:t>
            </a:r>
          </a:p>
          <a:p>
            <a:pPr algn="ctr">
              <a:lnSpc>
                <a:spcPct val="150000"/>
              </a:lnSpc>
            </a:pPr>
            <a:r>
              <a:rPr lang="en-US" sz="2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algn="ctr">
              <a:lnSpc>
                <a:spcPct val="150000"/>
              </a:lnSpc>
            </a:pPr>
            <a: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uildings’ selection based on detailed 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4985A65-AC3C-40DB-AC35-7198A9E5C811}"/>
              </a:ext>
            </a:extLst>
          </p:cNvPr>
          <p:cNvSpPr/>
          <p:nvPr/>
        </p:nvSpPr>
        <p:spPr>
          <a:xfrm>
            <a:off x="2733776" y="2023947"/>
            <a:ext cx="2947265" cy="23383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TEP 1</a:t>
            </a:r>
          </a:p>
          <a:p>
            <a:pPr algn="ctr">
              <a:lnSpc>
                <a:spcPct val="150000"/>
              </a:lnSpc>
            </a:pPr>
            <a:r>
              <a:rPr lang="en-US" sz="2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  <a:p>
            <a:pPr algn="ctr">
              <a:lnSpc>
                <a:spcPct val="150000"/>
              </a:lnSpc>
            </a:pPr>
            <a: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nergy </a:t>
            </a:r>
            <a:r>
              <a:rPr lang="en-US" sz="20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dastre</a:t>
            </a:r>
            <a:endParaRPr lang="en-US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ctr">
              <a:lnSpc>
                <a:spcPct val="150000"/>
              </a:lnSpc>
            </a:pPr>
            <a: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uildings’ selection based on global data</a:t>
            </a:r>
          </a:p>
        </p:txBody>
      </p:sp>
    </p:spTree>
    <p:extLst>
      <p:ext uri="{BB962C8B-B14F-4D97-AF65-F5344CB8AC3E}">
        <p14:creationId xmlns:p14="http://schemas.microsoft.com/office/powerpoint/2010/main" val="41328338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hème Office">
  <a:themeElements>
    <a:clrScheme name="Personnalisé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0205D"/>
      </a:accent1>
      <a:accent2>
        <a:srgbClr val="014076"/>
      </a:accent2>
      <a:accent3>
        <a:srgbClr val="E270A6"/>
      </a:accent3>
      <a:accent4>
        <a:srgbClr val="39A4FD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Thème Office">
  <a:themeElements>
    <a:clrScheme name="RenoWatt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165982"/>
      </a:accent1>
      <a:accent2>
        <a:srgbClr val="5E7599"/>
      </a:accent2>
      <a:accent3>
        <a:srgbClr val="939DB6"/>
      </a:accent3>
      <a:accent4>
        <a:srgbClr val="E0181F"/>
      </a:accent4>
      <a:accent5>
        <a:srgbClr val="BCDDE7"/>
      </a:accent5>
      <a:accent6>
        <a:srgbClr val="E1F1F6"/>
      </a:accent6>
      <a:hlink>
        <a:srgbClr val="CCCCFF"/>
      </a:hlink>
      <a:folHlink>
        <a:srgbClr val="B2B2B2"/>
      </a:folHlink>
    </a:clrScheme>
    <a:fontScheme name="Thème Office">
      <a:majorFont>
        <a:latin typeface="Arial"/>
        <a:ea typeface="Microsoft YaHei"/>
        <a:cs typeface=""/>
      </a:majorFont>
      <a:minorFont>
        <a:latin typeface="Arial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effectLst/>
            <a:latin typeface="Arial" charset="0"/>
            <a:ea typeface="Microsoft YaHei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effectLst/>
            <a:latin typeface="Arial" charset="0"/>
            <a:ea typeface="Microsoft YaHei" charset="-122"/>
          </a:defRPr>
        </a:defPPr>
      </a:lstStyle>
    </a:lnDef>
  </a:objectDefaults>
  <a:extraClrSchemeLst>
    <a:extraClrScheme>
      <a:clrScheme name="Thème Offic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74C7F"/>
        </a:accent1>
        <a:accent2>
          <a:srgbClr val="677098"/>
        </a:accent2>
        <a:accent3>
          <a:srgbClr val="989AB5"/>
        </a:accent3>
        <a:accent4>
          <a:srgbClr val="E11F19"/>
        </a:accent4>
        <a:accent5>
          <a:srgbClr val="BCDDE7"/>
        </a:accent5>
        <a:accent6>
          <a:srgbClr val="E1F1F6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hème Offic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FF0000"/>
        </a:accent3>
        <a:accent4>
          <a:srgbClr val="969696"/>
        </a:accent4>
        <a:accent5>
          <a:srgbClr val="FF6600"/>
        </a:accent5>
        <a:accent6>
          <a:srgbClr val="808080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hème Offic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0033CC"/>
        </a:accent3>
        <a:accent4>
          <a:srgbClr val="FFCC66"/>
        </a:accent4>
        <a:accent5>
          <a:srgbClr val="FF6600"/>
        </a:accent5>
        <a:accent6>
          <a:srgbClr val="80808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hème Offic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4D4D4D"/>
        </a:accent3>
        <a:accent4>
          <a:srgbClr val="EAEAEA"/>
        </a:accent4>
        <a:accent5>
          <a:srgbClr val="FF6600"/>
        </a:accent5>
        <a:accent6>
          <a:srgbClr val="808080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hème Offic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CC00CC"/>
        </a:accent3>
        <a:accent4>
          <a:srgbClr val="C0C0C0"/>
        </a:accent4>
        <a:accent5>
          <a:srgbClr val="FF6600"/>
        </a:accent5>
        <a:accent6>
          <a:srgbClr val="808080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hème Offic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0000"/>
        </a:accent3>
        <a:accent4>
          <a:srgbClr val="009900"/>
        </a:accent4>
        <a:accent5>
          <a:srgbClr val="FF6600"/>
        </a:accent5>
        <a:accent6>
          <a:srgbClr val="808080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hème Offic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CC00CC"/>
        </a:accent3>
        <a:accent4>
          <a:srgbClr val="B2B2B2"/>
        </a:accent4>
        <a:accent5>
          <a:srgbClr val="FF6600"/>
        </a:accent5>
        <a:accent6>
          <a:srgbClr val="808080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3EAE670DDBFBF40BD6A8D47BCBE3605" ma:contentTypeVersion="12" ma:contentTypeDescription="Crée un document." ma:contentTypeScope="" ma:versionID="dd790d98492e99c35c4d6ff2c45e7c5a">
  <xsd:schema xmlns:xsd="http://www.w3.org/2001/XMLSchema" xmlns:xs="http://www.w3.org/2001/XMLSchema" xmlns:p="http://schemas.microsoft.com/office/2006/metadata/properties" xmlns:ns2="8665b9ff-d872-412f-8034-f0610625cbfb" xmlns:ns3="8eaa8ad9-2cbe-49c3-85ed-a39c31ec8171" targetNamespace="http://schemas.microsoft.com/office/2006/metadata/properties" ma:root="true" ma:fieldsID="e890c1e7b71deddf4e1926641f6622e0" ns2:_="" ns3:_="">
    <xsd:import namespace="8665b9ff-d872-412f-8034-f0610625cbfb"/>
    <xsd:import namespace="8eaa8ad9-2cbe-49c3-85ed-a39c31ec817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65b9ff-d872-412f-8034-f0610625cbfb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eaa8ad9-2cbe-49c3-85ed-a39c31ec817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6585902-9616-48C5-9304-1E9DB62C9F2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0AD2A2B-EFA3-437B-BC99-323C2FAE4D42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3E6292A0-BAAE-402F-BB3B-DA6229A21523}">
  <ds:schemaRefs>
    <ds:schemaRef ds:uri="8665b9ff-d872-412f-8034-f0610625cbfb"/>
    <ds:schemaRef ds:uri="8eaa8ad9-2cbe-49c3-85ed-a39c31ec817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72</TotalTime>
  <Words>1811</Words>
  <Application>Microsoft Office PowerPoint</Application>
  <PresentationFormat>Grand écran</PresentationFormat>
  <Paragraphs>400</Paragraphs>
  <Slides>35</Slides>
  <Notes>6</Notes>
  <HiddenSlides>0</HiddenSlides>
  <MMClips>0</MMClips>
  <ScaleCrop>false</ScaleCrop>
  <HeadingPairs>
    <vt:vector size="8" baseType="variant">
      <vt:variant>
        <vt:lpstr>Polices utilisées</vt:lpstr>
      </vt:variant>
      <vt:variant>
        <vt:i4>13</vt:i4>
      </vt:variant>
      <vt:variant>
        <vt:lpstr>Thème</vt:lpstr>
      </vt:variant>
      <vt:variant>
        <vt:i4>3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5</vt:i4>
      </vt:variant>
    </vt:vector>
  </HeadingPairs>
  <TitlesOfParts>
    <vt:vector size="52" baseType="lpstr">
      <vt:lpstr>Meiryo</vt:lpstr>
      <vt:lpstr>Arial</vt:lpstr>
      <vt:lpstr>Calibri</vt:lpstr>
      <vt:lpstr>Calibri Light</vt:lpstr>
      <vt:lpstr>Corbel</vt:lpstr>
      <vt:lpstr>Courier New</vt:lpstr>
      <vt:lpstr>Gotham</vt:lpstr>
      <vt:lpstr>Gotham Book</vt:lpstr>
      <vt:lpstr>ScriptS</vt:lpstr>
      <vt:lpstr>Segoe UI Light</vt:lpstr>
      <vt:lpstr>Times New Roman</vt:lpstr>
      <vt:lpstr>Verdana</vt:lpstr>
      <vt:lpstr>Wingdings</vt:lpstr>
      <vt:lpstr>Thème Office</vt:lpstr>
      <vt:lpstr>1_Thème Office</vt:lpstr>
      <vt:lpstr>2_Thème Office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OBJECTIVES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 Procedures on Public Procurement      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Daphnée Rotenbach</dc:creator>
  <cp:lastModifiedBy>Daphnée Rotenbach</cp:lastModifiedBy>
  <cp:revision>1</cp:revision>
  <dcterms:created xsi:type="dcterms:W3CDTF">2021-03-15T13:10:41Z</dcterms:created>
  <dcterms:modified xsi:type="dcterms:W3CDTF">2021-05-10T14:55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3EAE670DDBFBF40BD6A8D47BCBE3605</vt:lpwstr>
  </property>
</Properties>
</file>